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3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4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5.xml" ContentType="application/vnd.openxmlformats-officedocument.them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theme/theme6.xml" ContentType="application/vnd.openxmlformats-officedocument.theme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theme/theme7.xml" ContentType="application/vnd.openxmlformats-officedocument.theme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heme/theme8.xml" ContentType="application/vnd.openxmlformats-officedocument.theme+xml"/>
  <Override PartName="/ppt/tags/tag505.xml" ContentType="application/vnd.openxmlformats-officedocument.presentationml.tags+xml"/>
  <Override PartName="/ppt/notesSlides/notesSlide1.xml" ContentType="application/vnd.openxmlformats-officedocument.presentationml.notesSlide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14" r:id="rId2"/>
    <p:sldMasterId id="2147483782" r:id="rId3"/>
    <p:sldMasterId id="2147483848" r:id="rId4"/>
    <p:sldMasterId id="2147483914" r:id="rId5"/>
    <p:sldMasterId id="2147483981" r:id="rId6"/>
    <p:sldMasterId id="2147504214" r:id="rId7"/>
  </p:sldMasterIdLst>
  <p:notesMasterIdLst>
    <p:notesMasterId r:id="rId15"/>
  </p:notesMasterIdLst>
  <p:sldIdLst>
    <p:sldId id="316" r:id="rId8"/>
    <p:sldId id="2989" r:id="rId9"/>
    <p:sldId id="2990" r:id="rId10"/>
    <p:sldId id="2988" r:id="rId11"/>
    <p:sldId id="2991" r:id="rId12"/>
    <p:sldId id="2992" r:id="rId13"/>
    <p:sldId id="2910" r:id="rId14"/>
  </p:sldIdLst>
  <p:sldSz cx="12192000" cy="6858000"/>
  <p:notesSz cx="6797675" cy="9926638"/>
  <p:custDataLst>
    <p:tags r:id="rId16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50" userDrawn="1">
          <p15:clr>
            <a:srgbClr val="A4A3A4"/>
          </p15:clr>
        </p15:guide>
        <p15:guide id="2" pos="3817">
          <p15:clr>
            <a:srgbClr val="A4A3A4"/>
          </p15:clr>
        </p15:guide>
        <p15:guide id="3" pos="34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Жукенов Женис" initials="" lastIdx="1" clrIdx="0"/>
  <p:cmAuthor id="2" name="Анастасия Корнилова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95E7E"/>
    <a:srgbClr val="3366CC"/>
    <a:srgbClr val="0066CC"/>
    <a:srgbClr val="333399"/>
    <a:srgbClr val="666699"/>
    <a:srgbClr val="38AF93"/>
    <a:srgbClr val="0033CC"/>
    <a:srgbClr val="0000CC"/>
    <a:srgbClr val="0000FF"/>
    <a:srgbClr val="248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22" autoAdjust="0"/>
    <p:restoredTop sz="96229" autoAdjust="0"/>
  </p:normalViewPr>
  <p:slideViewPr>
    <p:cSldViewPr snapToGrid="0">
      <p:cViewPr varScale="1">
        <p:scale>
          <a:sx n="116" d="100"/>
          <a:sy n="116" d="100"/>
        </p:scale>
        <p:origin x="702" y="60"/>
      </p:cViewPr>
      <p:guideLst>
        <p:guide orient="horz" pos="2750"/>
        <p:guide pos="3817"/>
        <p:guide pos="34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1455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_____Microsoft_Excel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3107147771577095"/>
          <c:y val="6.2897047655980767E-2"/>
          <c:w val="0.6689285621359301"/>
          <c:h val="0.92291883415867804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Лист1!$C$1</c:f>
              <c:strCache>
                <c:ptCount val="1"/>
                <c:pt idx="0">
                  <c:v>от 157 тыс. тг.</c:v>
                </c:pt>
              </c:strCache>
            </c:strRef>
          </c:tx>
          <c:spPr>
            <a:solidFill>
              <a:srgbClr val="5B9BD5">
                <a:lumMod val="75000"/>
              </a:srgb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B7D5-44E8-A4D9-1230321F04F6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8D35A04A-2E48-47C3-9C8A-B43D9B643767}" type="VALUE">
                      <a:rPr lang="en-US" smtClean="0"/>
                      <a:pPr/>
                      <a:t>[ЗНАЧЕНИЕ]</a:t>
                    </a:fld>
                    <a:r>
                      <a:rPr lang="en-US" smtClean="0"/>
                      <a:t>,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F3458A9C-6F26-45E5-94DB-540C6AED2D03}" type="VALUE">
                      <a:rPr lang="en-US" smtClean="0"/>
                      <a:pPr/>
                      <a:t>[ЗНАЧЕНИЕ]</a:t>
                    </a:fld>
                    <a:r>
                      <a:rPr lang="en-US" smtClean="0"/>
                      <a:t>,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2502C065-52CB-436B-944A-639C6167A9E1}" type="VALUE">
                      <a:rPr lang="en-US" smtClean="0"/>
                      <a:pPr/>
                      <a:t>[ЗНАЧЕНИЕ]</a:t>
                    </a:fld>
                    <a:r>
                      <a:rPr lang="en-US" smtClean="0"/>
                      <a:t>,7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1.8599455167770747E-3"/>
                  <c:y val="0"/>
                </c:manualLayout>
              </c:layout>
              <c:tx>
                <c:rich>
                  <a:bodyPr/>
                  <a:lstStyle/>
                  <a:p>
                    <a:fld id="{DE9D9C71-3D0E-4291-A514-F2D4A6467962}" type="VALUE">
                      <a:rPr lang="en-US" smtClean="0"/>
                      <a:pPr/>
                      <a:t>[ЗНАЧЕНИЕ]</a:t>
                    </a:fld>
                    <a:r>
                      <a:rPr lang="en-US" dirty="0" smtClean="0"/>
                      <a:t>,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5</c:f>
              <c:strCache>
                <c:ptCount val="4"/>
                <c:pt idx="0">
                  <c:v>Повышенный уровень шум и вибрации</c:v>
                </c:pt>
                <c:pt idx="1">
                  <c:v>Загазовности и запыленности рабочей зоны</c:v>
                </c:pt>
                <c:pt idx="2">
                  <c:v>Неблагоприятный температурный режим</c:v>
                </c:pt>
                <c:pt idx="3">
                  <c:v>Тяжелый физический труд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46</c:v>
                </c:pt>
                <c:pt idx="1">
                  <c:v>33</c:v>
                </c:pt>
                <c:pt idx="2">
                  <c:v>16</c:v>
                </c:pt>
                <c:pt idx="3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7D5-44E8-A4D9-1230321F04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52"/>
        <c:axId val="437563744"/>
        <c:axId val="437570272"/>
      </c:barChart>
      <c:catAx>
        <c:axId val="4375637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ctr">
              <a:defRPr lang="ru-RU" sz="1200" b="1" i="1" u="none" strike="noStrike" kern="1200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37570272"/>
        <c:crosses val="autoZero"/>
        <c:auto val="1"/>
        <c:lblAlgn val="ctr"/>
        <c:lblOffset val="100"/>
        <c:noMultiLvlLbl val="0"/>
      </c:catAx>
      <c:valAx>
        <c:axId val="4375702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37563744"/>
        <c:crosses val="autoZero"/>
        <c:crossBetween val="between"/>
      </c:valAx>
      <c:spPr>
        <a:noFill/>
        <a:ln w="36964">
          <a:noFill/>
        </a:ln>
      </c:spPr>
    </c:plotArea>
    <c:plotVisOnly val="1"/>
    <c:dispBlanksAs val="gap"/>
    <c:showDLblsOverMax val="0"/>
  </c:chart>
  <c:txPr>
    <a:bodyPr/>
    <a:lstStyle/>
    <a:p>
      <a:pPr>
        <a:defRPr sz="2602"/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923621637663911E-2"/>
          <c:y val="1.9663358381055721E-2"/>
          <c:w val="0.9560764224060655"/>
          <c:h val="0.88900409325720431"/>
        </c:manualLayout>
      </c:layout>
      <c:lineChart>
        <c:grouping val="standard"/>
        <c:varyColors val="1"/>
        <c:ser>
          <c:idx val="0"/>
          <c:order val="0"/>
          <c:spPr>
            <a:ln>
              <a:solidFill>
                <a:srgbClr val="295E7E"/>
              </a:solidFill>
            </a:ln>
          </c:spPr>
          <c:marker>
            <c:symbol val="circle"/>
            <c:size val="6"/>
            <c:spPr>
              <a:solidFill>
                <a:schemeClr val="accent1"/>
              </a:solidFill>
              <a:ln>
                <a:solidFill>
                  <a:srgbClr val="295E7E"/>
                </a:solidFill>
              </a:ln>
            </c:spPr>
          </c:marker>
          <c:dPt>
            <c:idx val="0"/>
            <c:marker>
              <c:symbol val="circle"/>
              <c:size val="6"/>
              <c:spPr>
                <a:solidFill>
                  <a:schemeClr val="accent1"/>
                </a:solidFill>
                <a:ln w="12700">
                  <a:solidFill>
                    <a:srgbClr val="295E7E"/>
                  </a:solidFill>
                  <a:round/>
                </a:ln>
                <a:effectLst/>
              </c:spPr>
            </c:marker>
            <c:bubble3D val="0"/>
            <c:spPr>
              <a:ln w="31750" cap="rnd">
                <a:solidFill>
                  <a:srgbClr val="295E7E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073-4B74-800F-5C33FBBBD5EC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accent1"/>
                </a:solidFill>
                <a:ln w="12700">
                  <a:solidFill>
                    <a:srgbClr val="295E7E"/>
                  </a:solidFill>
                  <a:round/>
                </a:ln>
                <a:effectLst/>
              </c:spPr>
            </c:marker>
            <c:bubble3D val="0"/>
            <c:spPr>
              <a:ln w="31750" cap="rnd">
                <a:solidFill>
                  <a:srgbClr val="295E7E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073-4B74-800F-5C33FBBBD5EC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accent1"/>
                </a:solidFill>
                <a:ln w="12700">
                  <a:solidFill>
                    <a:srgbClr val="295E7E"/>
                  </a:solidFill>
                  <a:round/>
                </a:ln>
                <a:effectLst/>
              </c:spPr>
            </c:marker>
            <c:bubble3D val="0"/>
            <c:spPr>
              <a:ln w="31750" cap="rnd">
                <a:solidFill>
                  <a:srgbClr val="295E7E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2073-4B74-800F-5C33FBBBD5EC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accent1"/>
                </a:solidFill>
                <a:ln w="12700">
                  <a:solidFill>
                    <a:srgbClr val="295E7E"/>
                  </a:solidFill>
                  <a:round/>
                </a:ln>
                <a:effectLst/>
              </c:spPr>
            </c:marker>
            <c:bubble3D val="0"/>
            <c:spPr>
              <a:ln w="31750" cap="rnd">
                <a:solidFill>
                  <a:srgbClr val="295E7E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073-4B74-800F-5C33FBBBD5EC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accent1"/>
                </a:solidFill>
                <a:ln w="12700">
                  <a:solidFill>
                    <a:srgbClr val="295E7E"/>
                  </a:solidFill>
                  <a:round/>
                </a:ln>
                <a:effectLst/>
              </c:spPr>
            </c:marker>
            <c:bubble3D val="0"/>
            <c:spPr>
              <a:ln w="31750" cap="rnd">
                <a:solidFill>
                  <a:srgbClr val="295E7E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984-4BE1-B897-7416AC6F0BDD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accent1"/>
                </a:solidFill>
                <a:ln w="12700">
                  <a:solidFill>
                    <a:srgbClr val="295E7E"/>
                  </a:solidFill>
                  <a:round/>
                </a:ln>
                <a:effectLst/>
              </c:spPr>
            </c:marker>
            <c:bubble3D val="0"/>
            <c:spPr>
              <a:ln w="31750" cap="rnd">
                <a:solidFill>
                  <a:srgbClr val="295E7E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073-4B74-800F-5C33FBBBD5EC}"/>
              </c:ext>
            </c:extLst>
          </c:dPt>
          <c:dLbls>
            <c:dLbl>
              <c:idx val="0"/>
              <c:layout>
                <c:manualLayout>
                  <c:x val="1.154163047538361E-2"/>
                  <c:y val="9.740597292833247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073-4B74-800F-5C33FBBBD5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8162611288776897E-2"/>
                  <c:y val="-2.05589617681967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073-4B74-800F-5C33FBBBD5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8.4072988413394136E-3"/>
                  <c:y val="-2.09915269905174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073-4B74-800F-5C33FBBBD5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4.584505754514686E-2"/>
                  <c:y val="-7.07645184554105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073-4B74-800F-5C33FBBBD5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125967628430693E-2"/>
                  <c:y val="-4.18216946865748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8149190710766033E-3"/>
                  <c:y val="-5.07834864051266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073-4B74-800F-5C33FBBBD5E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E$122:$E$126</c:f>
              <c:strCache>
                <c:ptCount val="5"/>
                <c:pt idx="0">
                  <c:v>2018 г.</c:v>
                </c:pt>
                <c:pt idx="1">
                  <c:v>2019 г.</c:v>
                </c:pt>
                <c:pt idx="2">
                  <c:v>2020 г.</c:v>
                </c:pt>
                <c:pt idx="3">
                  <c:v>2021 г.</c:v>
                </c:pt>
                <c:pt idx="4">
                  <c:v>2022 г.</c:v>
                </c:pt>
              </c:strCache>
            </c:strRef>
          </c:cat>
          <c:val>
            <c:numRef>
              <c:f>Лист1!$F$122:$F$126</c:f>
              <c:numCache>
                <c:formatCode>General</c:formatCode>
                <c:ptCount val="5"/>
                <c:pt idx="0">
                  <c:v>1568</c:v>
                </c:pt>
                <c:pt idx="1">
                  <c:v>1430</c:v>
                </c:pt>
                <c:pt idx="2">
                  <c:v>1503</c:v>
                </c:pt>
                <c:pt idx="3">
                  <c:v>1467</c:v>
                </c:pt>
                <c:pt idx="4">
                  <c:v>146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2073-4B74-800F-5C33FBBBD5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5556304"/>
        <c:axId val="815560112"/>
      </c:lineChart>
      <c:catAx>
        <c:axId val="815556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RU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15560112"/>
        <c:crosses val="autoZero"/>
        <c:auto val="1"/>
        <c:lblAlgn val="ctr"/>
        <c:lblOffset val="100"/>
        <c:noMultiLvlLbl val="0"/>
      </c:catAx>
      <c:valAx>
        <c:axId val="81556011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15556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98"/>
        <c:overlap val="100"/>
        <c:axId val="449576304"/>
        <c:axId val="449583920"/>
      </c:barChart>
      <c:catAx>
        <c:axId val="449576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313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449583920"/>
        <c:crosses val="autoZero"/>
        <c:auto val="1"/>
        <c:lblAlgn val="ctr"/>
        <c:lblOffset val="100"/>
        <c:noMultiLvlLbl val="0"/>
      </c:catAx>
      <c:valAx>
        <c:axId val="4495839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495763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9375129961928831"/>
          <c:y val="7.1528336985663035E-2"/>
          <c:w val="0.70624861651329729"/>
          <c:h val="0.8693007234048520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пострадавщих на 01.01.2022 года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 w="6348" cap="flat" cmpd="sng" algn="ctr">
              <a:solidFill>
                <a:schemeClr val="accent1"/>
              </a:solidFill>
              <a:prstDash val="solid"/>
              <a:miter lim="800000"/>
            </a:ln>
            <a:effectLst/>
          </c:spPr>
          <c:invertIfNegative val="0"/>
          <c:dLbls>
            <c:spPr>
              <a:scene3d>
                <a:camera prst="orthographicFront"/>
                <a:lightRig rig="threePt" dir="t"/>
              </a:scene3d>
              <a:sp3d>
                <a:bevelT w="101600" prst="riblet"/>
              </a:sp3d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Жетісу</c:v>
                </c:pt>
                <c:pt idx="1">
                  <c:v>Улытау</c:v>
                </c:pt>
                <c:pt idx="2">
                  <c:v>Абай</c:v>
                </c:pt>
                <c:pt idx="3">
                  <c:v>Алматинская </c:v>
                </c:pt>
                <c:pt idx="4">
                  <c:v>СКО</c:v>
                </c:pt>
                <c:pt idx="5">
                  <c:v>Жамбылская</c:v>
                </c:pt>
                <c:pt idx="6">
                  <c:v>г. Шымкент</c:v>
                </c:pt>
                <c:pt idx="7">
                  <c:v>Кызылординская</c:v>
                </c:pt>
                <c:pt idx="8">
                  <c:v>Акмолинская </c:v>
                </c:pt>
                <c:pt idx="9">
                  <c:v>Туркестанская</c:v>
                </c:pt>
                <c:pt idx="10">
                  <c:v>г. Астана</c:v>
                </c:pt>
                <c:pt idx="11">
                  <c:v>Мангистауская</c:v>
                </c:pt>
                <c:pt idx="12">
                  <c:v>ЗКО</c:v>
                </c:pt>
                <c:pt idx="13">
                  <c:v>Атырауская</c:v>
                </c:pt>
                <c:pt idx="14">
                  <c:v>Актюбинская</c:v>
                </c:pt>
                <c:pt idx="15">
                  <c:v>Павлодарская</c:v>
                </c:pt>
                <c:pt idx="16">
                  <c:v>г. Алматы</c:v>
                </c:pt>
                <c:pt idx="17">
                  <c:v>Костанайская</c:v>
                </c:pt>
                <c:pt idx="18">
                  <c:v>ВКО</c:v>
                </c:pt>
                <c:pt idx="19">
                  <c:v>Карагандин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7</c:v>
                </c:pt>
                <c:pt idx="1">
                  <c:v>18</c:v>
                </c:pt>
                <c:pt idx="2">
                  <c:v>21</c:v>
                </c:pt>
                <c:pt idx="3">
                  <c:v>33</c:v>
                </c:pt>
                <c:pt idx="4">
                  <c:v>44</c:v>
                </c:pt>
                <c:pt idx="5">
                  <c:v>46</c:v>
                </c:pt>
                <c:pt idx="6">
                  <c:v>47</c:v>
                </c:pt>
                <c:pt idx="7">
                  <c:v>50</c:v>
                </c:pt>
                <c:pt idx="8">
                  <c:v>52</c:v>
                </c:pt>
                <c:pt idx="9">
                  <c:v>53</c:v>
                </c:pt>
                <c:pt idx="10">
                  <c:v>55</c:v>
                </c:pt>
                <c:pt idx="11">
                  <c:v>65</c:v>
                </c:pt>
                <c:pt idx="12">
                  <c:v>71</c:v>
                </c:pt>
                <c:pt idx="13">
                  <c:v>83</c:v>
                </c:pt>
                <c:pt idx="14">
                  <c:v>103</c:v>
                </c:pt>
                <c:pt idx="15">
                  <c:v>112</c:v>
                </c:pt>
                <c:pt idx="16">
                  <c:v>114</c:v>
                </c:pt>
                <c:pt idx="17">
                  <c:v>142</c:v>
                </c:pt>
                <c:pt idx="18">
                  <c:v>169</c:v>
                </c:pt>
                <c:pt idx="19">
                  <c:v>1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0B6-4E36-A993-906D3613072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погибщих на 01.01.2022 года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dLbl>
              <c:idx val="0"/>
              <c:layout>
                <c:manualLayout>
                  <c:x val="8.5277041831186822E-3"/>
                  <c:y val="-3.124593280057787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5.7324936229384376E-4"/>
                  <c:y val="-1.8701427980388158E-3"/>
                </c:manualLayout>
              </c:layout>
              <c:spPr>
                <a:solidFill>
                  <a:srgbClr val="FF0000"/>
                </a:solidFill>
                <a:ln w="25392">
                  <a:noFill/>
                </a:ln>
              </c:spPr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F0B6-4E36-A993-906D3613072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spPr>
                <a:solidFill>
                  <a:srgbClr val="FF0000"/>
                </a:solidFill>
                <a:ln w="25392">
                  <a:noFill/>
                </a:ln>
              </c:spPr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1.4174344436569808E-2"/>
                  <c:y val="0"/>
                </c:manualLayout>
              </c:layout>
              <c:spPr>
                <a:solidFill>
                  <a:srgbClr val="FF0000"/>
                </a:solidFill>
                <a:ln w="25392">
                  <a:noFill/>
                </a:ln>
              </c:spPr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F0B6-4E36-A993-906D3613072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4.7247814788565594E-3"/>
                  <c:y val="3.2693097792005996E-3"/>
                </c:manualLayout>
              </c:layout>
              <c:tx>
                <c:rich>
                  <a:bodyPr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</a:defRPr>
                    </a:pPr>
                    <a:fld id="{CAD24A4E-2EC0-4EB1-9CC7-7E232D657D3C}" type="VALUE">
                      <a:rPr lang="en-US" sz="1200"/>
                      <a:pPr>
                        <a:defRPr sz="1200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solidFill>
                  <a:srgbClr val="FF0000"/>
                </a:solidFill>
                <a:ln w="25392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F0B6-4E36-A993-906D36130722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 w="25392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Жетісу</c:v>
                </c:pt>
                <c:pt idx="1">
                  <c:v>Улытау</c:v>
                </c:pt>
                <c:pt idx="2">
                  <c:v>Абай</c:v>
                </c:pt>
                <c:pt idx="3">
                  <c:v>Алматинская </c:v>
                </c:pt>
                <c:pt idx="4">
                  <c:v>СКО</c:v>
                </c:pt>
                <c:pt idx="5">
                  <c:v>Жамбылская</c:v>
                </c:pt>
                <c:pt idx="6">
                  <c:v>г. Шымкент</c:v>
                </c:pt>
                <c:pt idx="7">
                  <c:v>Кызылординская</c:v>
                </c:pt>
                <c:pt idx="8">
                  <c:v>Акмолинская </c:v>
                </c:pt>
                <c:pt idx="9">
                  <c:v>Туркестанская</c:v>
                </c:pt>
                <c:pt idx="10">
                  <c:v>г. Астана</c:v>
                </c:pt>
                <c:pt idx="11">
                  <c:v>Мангистауская</c:v>
                </c:pt>
                <c:pt idx="12">
                  <c:v>ЗКО</c:v>
                </c:pt>
                <c:pt idx="13">
                  <c:v>Атырауская</c:v>
                </c:pt>
                <c:pt idx="14">
                  <c:v>Актюбинская</c:v>
                </c:pt>
                <c:pt idx="15">
                  <c:v>Павлодарская</c:v>
                </c:pt>
                <c:pt idx="16">
                  <c:v>г. Алматы</c:v>
                </c:pt>
                <c:pt idx="17">
                  <c:v>Костанайская</c:v>
                </c:pt>
                <c:pt idx="18">
                  <c:v>ВКО</c:v>
                </c:pt>
                <c:pt idx="19">
                  <c:v>Карагандинская</c:v>
                </c:pt>
              </c:strCache>
            </c:strRef>
          </c:cat>
          <c:val>
            <c:numRef>
              <c:f>Лист1!$C$2:$C$21</c:f>
              <c:numCache>
                <c:formatCode>General</c:formatCode>
                <c:ptCount val="20"/>
                <c:pt idx="0">
                  <c:v>2</c:v>
                </c:pt>
                <c:pt idx="1">
                  <c:v>3</c:v>
                </c:pt>
                <c:pt idx="2">
                  <c:v>2</c:v>
                </c:pt>
                <c:pt idx="3">
                  <c:v>2</c:v>
                </c:pt>
                <c:pt idx="4">
                  <c:v>6</c:v>
                </c:pt>
                <c:pt idx="5">
                  <c:v>13</c:v>
                </c:pt>
                <c:pt idx="6">
                  <c:v>9</c:v>
                </c:pt>
                <c:pt idx="7">
                  <c:v>11</c:v>
                </c:pt>
                <c:pt idx="8">
                  <c:v>14</c:v>
                </c:pt>
                <c:pt idx="9">
                  <c:v>5</c:v>
                </c:pt>
                <c:pt idx="10">
                  <c:v>16</c:v>
                </c:pt>
                <c:pt idx="11">
                  <c:v>6</c:v>
                </c:pt>
                <c:pt idx="12">
                  <c:v>16</c:v>
                </c:pt>
                <c:pt idx="13">
                  <c:v>6</c:v>
                </c:pt>
                <c:pt idx="14">
                  <c:v>14</c:v>
                </c:pt>
                <c:pt idx="15">
                  <c:v>6</c:v>
                </c:pt>
                <c:pt idx="16">
                  <c:v>13</c:v>
                </c:pt>
                <c:pt idx="17">
                  <c:v>18</c:v>
                </c:pt>
                <c:pt idx="18">
                  <c:v>13</c:v>
                </c:pt>
                <c:pt idx="19">
                  <c:v>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F0B6-4E36-A993-906D361307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573901776"/>
        <c:axId val="573902864"/>
      </c:barChart>
      <c:catAx>
        <c:axId val="5739017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ctr">
              <a:defRPr sz="1200" b="0">
                <a:solidFill>
                  <a:schemeClr val="tx1"/>
                </a:solidFill>
              </a:defRPr>
            </a:pPr>
            <a:endParaRPr lang="ru-RU"/>
          </a:p>
        </c:txPr>
        <c:crossAx val="573902864"/>
        <c:crosses val="autoZero"/>
        <c:auto val="1"/>
        <c:lblAlgn val="ctr"/>
        <c:lblOffset val="100"/>
        <c:noMultiLvlLbl val="0"/>
      </c:catAx>
      <c:valAx>
        <c:axId val="5739028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73901776"/>
        <c:crosses val="autoZero"/>
        <c:crossBetween val="between"/>
      </c:valAx>
      <c:spPr>
        <a:noFill/>
        <a:ln w="25392">
          <a:noFill/>
        </a:ln>
      </c:spPr>
    </c:plotArea>
    <c:plotVisOnly val="1"/>
    <c:dispBlanksAs val="gap"/>
    <c:showDLblsOverMax val="0"/>
  </c:chart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2">
    <c:autoUpdate val="0"/>
  </c:externalData>
  <c:userShapes r:id="rId3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7245</cdr:x>
      <cdr:y>0.86932</cdr:y>
    </cdr:from>
    <cdr:to>
      <cdr:x>0.88483</cdr:x>
      <cdr:y>0.91369</cdr:y>
    </cdr:to>
    <cdr:sp macro="" textlink="">
      <cdr:nvSpPr>
        <cdr:cNvPr id="2" name="Номер слайда 1">
          <a:extLst xmlns:a="http://schemas.openxmlformats.org/drawingml/2006/main">
            <a:ext uri="{FF2B5EF4-FFF2-40B4-BE49-F238E27FC236}">
              <a16:creationId xmlns="" xmlns:a16="http://schemas.microsoft.com/office/drawing/2014/main" id="{1FAA5E7A-7920-4D24-A551-70A470D065DE}"/>
            </a:ext>
          </a:extLst>
        </cdr:cNvPr>
        <cdr:cNvSpPr txBox="1">
          <a:spLocks xmlns:a="http://schemas.openxmlformats.org/drawingml/2006/main"/>
        </cdr:cNvSpPr>
      </cdr:nvSpPr>
      <cdr:spPr>
        <a:xfrm xmlns:a="http://schemas.openxmlformats.org/drawingml/2006/main">
          <a:off x="2347025" y="3608505"/>
          <a:ext cx="2048622" cy="1841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lIns="0" anchor="ctr"/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defRPr/>
          </a:pPr>
          <a:r>
            <a:rPr lang="kk-KZ" sz="1200" b="1" dirty="0" smtClean="0">
              <a:latin typeface="Arial" pitchFamily="34" charset="0"/>
              <a:cs typeface="Arial" pitchFamily="34" charset="0"/>
            </a:rPr>
            <a:t>1465</a:t>
          </a:r>
          <a:r>
            <a:rPr lang="en-US" sz="1200" dirty="0" smtClean="0">
              <a:latin typeface="Arial" pitchFamily="34" charset="0"/>
              <a:cs typeface="Arial" pitchFamily="34" charset="0"/>
            </a:rPr>
            <a:t> </a:t>
          </a:r>
          <a:r>
            <a:rPr lang="ru-RU" sz="1200" dirty="0">
              <a:latin typeface="Arial" pitchFamily="34" charset="0"/>
              <a:cs typeface="Arial" pitchFamily="34" charset="0"/>
            </a:rPr>
            <a:t>– пострадали (чел.)</a:t>
          </a:r>
          <a:endParaRPr lang="ru-RU" sz="1200" b="1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84321</cdr:x>
      <cdr:y>0.87408</cdr:y>
    </cdr:from>
    <cdr:to>
      <cdr:x>0.92244</cdr:x>
      <cdr:y>0.9213</cdr:y>
    </cdr:to>
    <cdr:sp macro="" textlink="">
      <cdr:nvSpPr>
        <cdr:cNvPr id="3" name="Номер слайда 1">
          <a:extLst xmlns:a="http://schemas.openxmlformats.org/drawingml/2006/main">
            <a:ext uri="{FF2B5EF4-FFF2-40B4-BE49-F238E27FC236}">
              <a16:creationId xmlns="" xmlns:a16="http://schemas.microsoft.com/office/drawing/2014/main" id="{2269CE5A-C62A-43DA-949F-D75129238AA4}"/>
            </a:ext>
          </a:extLst>
        </cdr:cNvPr>
        <cdr:cNvSpPr txBox="1">
          <a:spLocks xmlns:a="http://schemas.openxmlformats.org/drawingml/2006/main"/>
        </cdr:cNvSpPr>
      </cdr:nvSpPr>
      <cdr:spPr bwMode="auto">
        <a:xfrm xmlns:a="http://schemas.openxmlformats.org/drawingml/2006/main">
          <a:off x="4188879" y="3628248"/>
          <a:ext cx="393598" cy="196008"/>
        </a:xfrm>
        <a:prstGeom xmlns:a="http://schemas.openxmlformats.org/drawingml/2006/main" prst="rect">
          <a:avLst/>
        </a:prstGeom>
        <a:solidFill xmlns:a="http://schemas.openxmlformats.org/drawingml/2006/main">
          <a:srgbClr val="0070C0"/>
        </a:solidFill>
        <a:ln xmlns:a="http://schemas.openxmlformats.org/drawingml/2006/main">
          <a:noFill/>
        </a:ln>
      </cdr:spPr>
      <cdr:txBody>
        <a:bodyPr xmlns:a="http://schemas.openxmlformats.org/drawingml/2006/main" lIns="0" anchor="ctr"/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eaLnBrk="1" hangingPunct="1"/>
          <a:endParaRPr lang="ru-RU" sz="1970">
            <a:solidFill>
              <a:srgbClr val="203864"/>
            </a:solidFill>
            <a:latin typeface="Impact" panose="020B0806030902050204" pitchFamily="34" charset="0"/>
          </a:endParaRPr>
        </a:p>
      </cdr:txBody>
    </cdr:sp>
  </cdr:relSizeAnchor>
  <cdr:relSizeAnchor xmlns:cdr="http://schemas.openxmlformats.org/drawingml/2006/chartDrawing">
    <cdr:from>
      <cdr:x>0.47245</cdr:x>
      <cdr:y>0.92921</cdr:y>
    </cdr:from>
    <cdr:to>
      <cdr:x>0.88329</cdr:x>
      <cdr:y>0.98491</cdr:y>
    </cdr:to>
    <cdr:sp macro="" textlink="">
      <cdr:nvSpPr>
        <cdr:cNvPr id="4" name="Номер слайда 1">
          <a:extLst xmlns:a="http://schemas.openxmlformats.org/drawingml/2006/main">
            <a:ext uri="{FF2B5EF4-FFF2-40B4-BE49-F238E27FC236}">
              <a16:creationId xmlns="" xmlns:a16="http://schemas.microsoft.com/office/drawing/2014/main" id="{0CB668D0-D2EC-45E2-951E-E33321BE3E38}"/>
            </a:ext>
          </a:extLst>
        </cdr:cNvPr>
        <cdr:cNvSpPr txBox="1">
          <a:spLocks xmlns:a="http://schemas.openxmlformats.org/drawingml/2006/main"/>
        </cdr:cNvSpPr>
      </cdr:nvSpPr>
      <cdr:spPr>
        <a:xfrm xmlns:a="http://schemas.openxmlformats.org/drawingml/2006/main">
          <a:off x="2347025" y="3857105"/>
          <a:ext cx="2040971" cy="23120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lIns="0" anchor="ctr"/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defRPr/>
          </a:pPr>
          <a:r>
            <a:rPr lang="ru-RU" sz="1200" b="1" dirty="0" smtClean="0">
              <a:latin typeface="Arial" pitchFamily="34" charset="0"/>
              <a:cs typeface="Arial" pitchFamily="34" charset="0"/>
            </a:rPr>
            <a:t>203</a:t>
          </a:r>
          <a:r>
            <a:rPr lang="ru-RU" sz="1200" dirty="0" smtClean="0">
              <a:latin typeface="Arial" pitchFamily="34" charset="0"/>
              <a:cs typeface="Arial" pitchFamily="34" charset="0"/>
            </a:rPr>
            <a:t> </a:t>
          </a:r>
          <a:r>
            <a:rPr lang="ru-RU" sz="1200" dirty="0">
              <a:latin typeface="Arial" pitchFamily="34" charset="0"/>
              <a:cs typeface="Arial" pitchFamily="34" charset="0"/>
            </a:rPr>
            <a:t>– погибли (чел.)</a:t>
          </a:r>
          <a:endParaRPr lang="ru-RU" sz="1200" b="1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84325</cdr:x>
      <cdr:y>0.95126</cdr:y>
    </cdr:from>
    <cdr:to>
      <cdr:x>0.92249</cdr:x>
      <cdr:y>1</cdr:y>
    </cdr:to>
    <cdr:sp macro="" textlink="">
      <cdr:nvSpPr>
        <cdr:cNvPr id="5" name="Номер слайда 1">
          <a:extLst xmlns:a="http://schemas.openxmlformats.org/drawingml/2006/main">
            <a:ext uri="{FF2B5EF4-FFF2-40B4-BE49-F238E27FC236}">
              <a16:creationId xmlns="" xmlns:a16="http://schemas.microsoft.com/office/drawing/2014/main" id="{3223B394-DEC8-4C99-BF81-F556107BC274}"/>
            </a:ext>
          </a:extLst>
        </cdr:cNvPr>
        <cdr:cNvSpPr txBox="1">
          <a:spLocks xmlns:a="http://schemas.openxmlformats.org/drawingml/2006/main"/>
        </cdr:cNvSpPr>
      </cdr:nvSpPr>
      <cdr:spPr bwMode="auto">
        <a:xfrm xmlns:a="http://schemas.openxmlformats.org/drawingml/2006/main">
          <a:off x="4189110" y="3948629"/>
          <a:ext cx="393648" cy="202317"/>
        </a:xfrm>
        <a:prstGeom xmlns:a="http://schemas.openxmlformats.org/drawingml/2006/main" prst="rect">
          <a:avLst/>
        </a:prstGeom>
        <a:solidFill xmlns:a="http://schemas.openxmlformats.org/drawingml/2006/main">
          <a:srgbClr val="C00000"/>
        </a:solidFill>
        <a:ln xmlns:a="http://schemas.openxmlformats.org/drawingml/2006/main">
          <a:noFill/>
        </a:ln>
      </cdr:spPr>
      <cdr:txBody>
        <a:bodyPr xmlns:a="http://schemas.openxmlformats.org/drawingml/2006/main" lIns="0" anchor="ctr"/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eaLnBrk="1" hangingPunct="1"/>
          <a:endParaRPr lang="ru-RU" sz="1970">
            <a:solidFill>
              <a:srgbClr val="203864"/>
            </a:solidFill>
            <a:latin typeface="Impact" panose="020B0806030902050204" pitchFamily="34" charset="0"/>
          </a:endParaRPr>
        </a:p>
      </cdr:txBody>
    </cdr:sp>
  </cdr:relSizeAnchor>
  <cdr:relSizeAnchor xmlns:cdr="http://schemas.openxmlformats.org/drawingml/2006/chartDrawing">
    <cdr:from>
      <cdr:x>0.77679</cdr:x>
      <cdr:y>0</cdr:y>
    </cdr:from>
    <cdr:to>
      <cdr:x>1</cdr:x>
      <cdr:y>0.03162</cdr:y>
    </cdr:to>
    <cdr:sp macro="" textlink="">
      <cdr:nvSpPr>
        <cdr:cNvPr id="6" name="Номер слайда 1">
          <a:extLst xmlns:a="http://schemas.openxmlformats.org/drawingml/2006/main">
            <a:ext uri="{FF2B5EF4-FFF2-40B4-BE49-F238E27FC236}">
              <a16:creationId xmlns:lc="http://schemas.openxmlformats.org/drawingml/2006/lockedCanvas" xmlns:a16="http://schemas.microsoft.com/office/drawing/2014/main" xmlns="" id="{1FAA5E7A-7920-4D24-A551-70A470D065DE}"/>
            </a:ext>
          </a:extLst>
        </cdr:cNvPr>
        <cdr:cNvSpPr txBox="1">
          <a:spLocks xmlns:a="http://schemas.openxmlformats.org/drawingml/2006/main"/>
        </cdr:cNvSpPr>
      </cdr:nvSpPr>
      <cdr:spPr>
        <a:xfrm xmlns:a="http://schemas.openxmlformats.org/drawingml/2006/main">
          <a:off x="3165754" y="0"/>
          <a:ext cx="909675" cy="12851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lIns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defRPr/>
          </a:pPr>
          <a:r>
            <a:rPr lang="en-US" sz="1200" i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                     </a:t>
          </a:r>
          <a:r>
            <a:rPr lang="kk-KZ" sz="1200" i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  </a:t>
          </a:r>
          <a:r>
            <a:rPr lang="en-US" sz="1200" i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kk-KZ" sz="1200" i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202</a:t>
          </a:r>
          <a:r>
            <a:rPr lang="en-US" sz="1200" i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2</a:t>
          </a:r>
          <a:r>
            <a:rPr lang="kk-KZ" sz="1200" i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г.</a:t>
          </a:r>
          <a:endParaRPr lang="ru-RU" sz="1200" i="1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00849</cdr:x>
      <cdr:y>0.00943</cdr:y>
    </cdr:from>
    <cdr:to>
      <cdr:x>0.00919</cdr:x>
      <cdr:y>0.01024</cdr:y>
    </cdr:to>
    <cdr:grpSp>
      <cdr:nvGrpSpPr>
        <cdr:cNvPr id="8" name="bcgIcons_ConstructionCrane">
          <a:extLst xmlns:a="http://schemas.openxmlformats.org/drawingml/2006/main">
            <a:ext uri="{FF2B5EF4-FFF2-40B4-BE49-F238E27FC236}">
              <a16:creationId xmlns:r="http://schemas.openxmlformats.org/officeDocument/2006/relationships" xmlns:p="http://schemas.openxmlformats.org/presentationml/2006/main" xmlns:a16="http://schemas.microsoft.com/office/drawing/2014/main" xmlns="" xmlns:lc="http://schemas.openxmlformats.org/drawingml/2006/lockedCanvas" id="{ADD68379-5805-487D-ACE5-8D69CD168C1F}"/>
            </a:ext>
          </a:extLst>
        </cdr:cNvPr>
        <cdr:cNvGrpSpPr>
          <a:grpSpLocks xmlns:a="http://schemas.openxmlformats.org/drawingml/2006/main" noChangeAspect="1"/>
        </cdr:cNvGrpSpPr>
      </cdr:nvGrpSpPr>
      <cdr:grpSpPr bwMode="auto">
        <a:xfrm xmlns:a="http://schemas.openxmlformats.org/drawingml/2006/main">
          <a:off x="42177" y="39143"/>
          <a:ext cx="3477" cy="3363"/>
          <a:chOff x="-5024" y="-52493"/>
          <a:chExt cx="43" cy="43"/>
        </a:xfrm>
      </cdr:grpSpPr>
      <cdr:sp macro="" textlink="">
        <cdr:nvSpPr>
          <cdr:cNvPr id="11" name="AutoShape 3">
            <a:extLst xmlns:a="http://schemas.openxmlformats.org/drawingml/2006/main">
              <a:ext uri="{FF2B5EF4-FFF2-40B4-BE49-F238E27FC236}">
                <a16:creationId xmlns:r="http://schemas.openxmlformats.org/officeDocument/2006/relationships" xmlns:p="http://schemas.openxmlformats.org/presentationml/2006/main" xmlns:a16="http://schemas.microsoft.com/office/drawing/2014/main" xmlns="" xmlns:lc="http://schemas.openxmlformats.org/drawingml/2006/lockedCanvas" id="{C42A20EB-4022-41DF-A311-7B01803C3E2C}"/>
              </a:ext>
            </a:extLst>
          </cdr:cNvPr>
          <cdr:cNvSpPr>
            <a:spLocks xmlns:a="http://schemas.openxmlformats.org/drawingml/2006/main" noChangeAspect="1" noChangeArrowheads="1" noTextEdit="1"/>
          </cdr:cNvSpPr>
        </cdr:nvSpPr>
        <cdr:spPr bwMode="auto">
          <a:xfrm xmlns:a="http://schemas.openxmlformats.org/drawingml/2006/main">
            <a:off x="-5024" y="-52493"/>
            <a:ext cx="43" cy="43"/>
          </a:xfrm>
          <a:prstGeom xmlns:a="http://schemas.openxmlformats.org/drawingml/2006/main" prst="rect">
            <a:avLst/>
          </a:prstGeom>
          <a:noFill xmlns:a="http://schemas.openxmlformats.org/drawingml/2006/main"/>
          <a:ln xmlns:a="http://schemas.openxmlformats.org/drawingml/2006/main">
            <a:noFill/>
          </a:ln>
          <a:extLst xmlns:a="http://schemas.openxmlformats.org/drawingml/2006/main"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cdr:spPr>
        <cdr:txBody>
          <a:bodyPr xmlns:a="http://schemas.openxmlformats.org/drawingml/2006/main" vert="horz" wrap="square" lIns="91440" tIns="45720" rIns="91440" bIns="45720" numCol="1" anchor="t" anchorCtr="0" compatLnSpc="1">
            <a:prstTxWarp prst="textNoShape">
              <a:avLst/>
            </a:prstTxWarp>
          </a:bodyPr>
          <a:lstStyle xmlns:a="http://schemas.openxmlformats.org/drawingml/2006/main"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 xmlns:a="http://schemas.openxmlformats.org/drawingml/2006/main"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</a:endParaRPr>
          </a:p>
        </cdr:txBody>
      </cdr:sp>
      <cdr:sp macro="" textlink="">
        <cdr:nvSpPr>
          <cdr:cNvPr id="12" name="Freeform 5">
            <a:extLst xmlns:a="http://schemas.openxmlformats.org/drawingml/2006/main">
              <a:ext uri="{FF2B5EF4-FFF2-40B4-BE49-F238E27FC236}">
                <a16:creationId xmlns:r="http://schemas.openxmlformats.org/officeDocument/2006/relationships" xmlns:p="http://schemas.openxmlformats.org/presentationml/2006/main" xmlns:a16="http://schemas.microsoft.com/office/drawing/2014/main" xmlns="" xmlns:lc="http://schemas.openxmlformats.org/drawingml/2006/lockedCanvas" id="{7D785E08-0415-420B-A37F-21F0E35D6AF6}"/>
              </a:ext>
            </a:extLst>
          </cdr:cNvPr>
          <cdr:cNvSpPr>
            <a:spLocks xmlns:a="http://schemas.openxmlformats.org/drawingml/2006/main" noEditPoints="1"/>
          </cdr:cNvSpPr>
        </cdr:nvSpPr>
        <cdr:spPr bwMode="auto">
          <a:xfrm xmlns:a="http://schemas.openxmlformats.org/drawingml/2006/main">
            <a:off x="-5018" y="-52477"/>
            <a:ext cx="16" cy="18"/>
          </a:xfrm>
          <a:custGeom xmlns:a="http://schemas.openxmlformats.org/drawingml/2006/main">
            <a:avLst/>
            <a:gdLst>
              <a:gd name="T0" fmla="*/ 769 w 843"/>
              <a:gd name="T1" fmla="*/ 827 h 974"/>
              <a:gd name="T2" fmla="*/ 699 w 843"/>
              <a:gd name="T3" fmla="*/ 878 h 974"/>
              <a:gd name="T4" fmla="*/ 492 w 843"/>
              <a:gd name="T5" fmla="*/ 878 h 974"/>
              <a:gd name="T6" fmla="*/ 421 w 843"/>
              <a:gd name="T7" fmla="*/ 827 h 974"/>
              <a:gd name="T8" fmla="*/ 351 w 843"/>
              <a:gd name="T9" fmla="*/ 878 h 974"/>
              <a:gd name="T10" fmla="*/ 144 w 843"/>
              <a:gd name="T11" fmla="*/ 878 h 974"/>
              <a:gd name="T12" fmla="*/ 74 w 843"/>
              <a:gd name="T13" fmla="*/ 827 h 974"/>
              <a:gd name="T14" fmla="*/ 0 w 843"/>
              <a:gd name="T15" fmla="*/ 900 h 974"/>
              <a:gd name="T16" fmla="*/ 74 w 843"/>
              <a:gd name="T17" fmla="*/ 974 h 974"/>
              <a:gd name="T18" fmla="*/ 144 w 843"/>
              <a:gd name="T19" fmla="*/ 922 h 974"/>
              <a:gd name="T20" fmla="*/ 351 w 843"/>
              <a:gd name="T21" fmla="*/ 922 h 974"/>
              <a:gd name="T22" fmla="*/ 421 w 843"/>
              <a:gd name="T23" fmla="*/ 974 h 974"/>
              <a:gd name="T24" fmla="*/ 492 w 843"/>
              <a:gd name="T25" fmla="*/ 922 h 974"/>
              <a:gd name="T26" fmla="*/ 699 w 843"/>
              <a:gd name="T27" fmla="*/ 922 h 974"/>
              <a:gd name="T28" fmla="*/ 769 w 843"/>
              <a:gd name="T29" fmla="*/ 974 h 974"/>
              <a:gd name="T30" fmla="*/ 843 w 843"/>
              <a:gd name="T31" fmla="*/ 900 h 974"/>
              <a:gd name="T32" fmla="*/ 769 w 843"/>
              <a:gd name="T33" fmla="*/ 827 h 974"/>
              <a:gd name="T34" fmla="*/ 74 w 843"/>
              <a:gd name="T35" fmla="*/ 930 h 974"/>
              <a:gd name="T36" fmla="*/ 44 w 843"/>
              <a:gd name="T37" fmla="*/ 900 h 974"/>
              <a:gd name="T38" fmla="*/ 74 w 843"/>
              <a:gd name="T39" fmla="*/ 871 h 974"/>
              <a:gd name="T40" fmla="*/ 103 w 843"/>
              <a:gd name="T41" fmla="*/ 900 h 974"/>
              <a:gd name="T42" fmla="*/ 74 w 843"/>
              <a:gd name="T43" fmla="*/ 930 h 974"/>
              <a:gd name="T44" fmla="*/ 421 w 843"/>
              <a:gd name="T45" fmla="*/ 930 h 974"/>
              <a:gd name="T46" fmla="*/ 392 w 843"/>
              <a:gd name="T47" fmla="*/ 900 h 974"/>
              <a:gd name="T48" fmla="*/ 421 w 843"/>
              <a:gd name="T49" fmla="*/ 871 h 974"/>
              <a:gd name="T50" fmla="*/ 451 w 843"/>
              <a:gd name="T51" fmla="*/ 900 h 974"/>
              <a:gd name="T52" fmla="*/ 421 w 843"/>
              <a:gd name="T53" fmla="*/ 930 h 974"/>
              <a:gd name="T54" fmla="*/ 769 w 843"/>
              <a:gd name="T55" fmla="*/ 930 h 974"/>
              <a:gd name="T56" fmla="*/ 739 w 843"/>
              <a:gd name="T57" fmla="*/ 900 h 974"/>
              <a:gd name="T58" fmla="*/ 769 w 843"/>
              <a:gd name="T59" fmla="*/ 871 h 974"/>
              <a:gd name="T60" fmla="*/ 799 w 843"/>
              <a:gd name="T61" fmla="*/ 900 h 974"/>
              <a:gd name="T62" fmla="*/ 769 w 843"/>
              <a:gd name="T63" fmla="*/ 930 h 974"/>
              <a:gd name="T64" fmla="*/ 539 w 843"/>
              <a:gd name="T65" fmla="*/ 0 h 974"/>
              <a:gd name="T66" fmla="*/ 289 w 843"/>
              <a:gd name="T67" fmla="*/ 0 h 974"/>
              <a:gd name="T68" fmla="*/ 289 w 843"/>
              <a:gd name="T69" fmla="*/ 439 h 974"/>
              <a:gd name="T70" fmla="*/ 351 w 843"/>
              <a:gd name="T71" fmla="*/ 439 h 974"/>
              <a:gd name="T72" fmla="*/ 351 w 843"/>
              <a:gd name="T73" fmla="*/ 546 h 974"/>
              <a:gd name="T74" fmla="*/ 729 w 843"/>
              <a:gd name="T75" fmla="*/ 546 h 974"/>
              <a:gd name="T76" fmla="*/ 729 w 843"/>
              <a:gd name="T77" fmla="*/ 439 h 974"/>
              <a:gd name="T78" fmla="*/ 788 w 843"/>
              <a:gd name="T79" fmla="*/ 439 h 974"/>
              <a:gd name="T80" fmla="*/ 788 w 843"/>
              <a:gd name="T81" fmla="*/ 259 h 974"/>
              <a:gd name="T82" fmla="*/ 539 w 843"/>
              <a:gd name="T83" fmla="*/ 0 h 974"/>
              <a:gd name="T84" fmla="*/ 603 w 843"/>
              <a:gd name="T85" fmla="*/ 310 h 974"/>
              <a:gd name="T86" fmla="*/ 411 w 843"/>
              <a:gd name="T87" fmla="*/ 310 h 974"/>
              <a:gd name="T88" fmla="*/ 411 w 843"/>
              <a:gd name="T89" fmla="*/ 157 h 974"/>
              <a:gd name="T90" fmla="*/ 508 w 843"/>
              <a:gd name="T91" fmla="*/ 157 h 974"/>
              <a:gd name="T92" fmla="*/ 603 w 843"/>
              <a:gd name="T93" fmla="*/ 249 h 974"/>
              <a:gd name="T94" fmla="*/ 603 w 843"/>
              <a:gd name="T95" fmla="*/ 310 h 974"/>
              <a:gd name="T96" fmla="*/ 307 w 843"/>
              <a:gd name="T97" fmla="*/ 483 h 974"/>
              <a:gd name="T98" fmla="*/ 307 w 843"/>
              <a:gd name="T99" fmla="*/ 546 h 974"/>
              <a:gd name="T100" fmla="*/ 45 w 843"/>
              <a:gd name="T101" fmla="*/ 546 h 974"/>
              <a:gd name="T102" fmla="*/ 45 w 843"/>
              <a:gd name="T103" fmla="*/ 330 h 974"/>
              <a:gd name="T104" fmla="*/ 245 w 843"/>
              <a:gd name="T105" fmla="*/ 330 h 974"/>
              <a:gd name="T106" fmla="*/ 245 w 843"/>
              <a:gd name="T107" fmla="*/ 483 h 974"/>
              <a:gd name="T108" fmla="*/ 307 w 843"/>
              <a:gd name="T109" fmla="*/ 483 h 9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43" h="974">
                <a:moveTo>
                  <a:pt x="769" y="827"/>
                </a:moveTo>
                <a:cubicBezTo>
                  <a:pt x="736" y="827"/>
                  <a:pt x="708" y="849"/>
                  <a:pt x="699" y="878"/>
                </a:cubicBezTo>
                <a:cubicBezTo>
                  <a:pt x="492" y="878"/>
                  <a:pt x="492" y="878"/>
                  <a:pt x="492" y="878"/>
                </a:cubicBezTo>
                <a:cubicBezTo>
                  <a:pt x="482" y="849"/>
                  <a:pt x="454" y="827"/>
                  <a:pt x="421" y="827"/>
                </a:cubicBezTo>
                <a:cubicBezTo>
                  <a:pt x="388" y="827"/>
                  <a:pt x="361" y="849"/>
                  <a:pt x="351" y="878"/>
                </a:cubicBezTo>
                <a:cubicBezTo>
                  <a:pt x="144" y="878"/>
                  <a:pt x="144" y="878"/>
                  <a:pt x="144" y="878"/>
                </a:cubicBezTo>
                <a:cubicBezTo>
                  <a:pt x="134" y="849"/>
                  <a:pt x="107" y="827"/>
                  <a:pt x="74" y="827"/>
                </a:cubicBezTo>
                <a:cubicBezTo>
                  <a:pt x="33" y="827"/>
                  <a:pt x="0" y="860"/>
                  <a:pt x="0" y="900"/>
                </a:cubicBezTo>
                <a:cubicBezTo>
                  <a:pt x="0" y="941"/>
                  <a:pt x="33" y="974"/>
                  <a:pt x="74" y="974"/>
                </a:cubicBezTo>
                <a:cubicBezTo>
                  <a:pt x="107" y="974"/>
                  <a:pt x="134" y="952"/>
                  <a:pt x="144" y="922"/>
                </a:cubicBezTo>
                <a:cubicBezTo>
                  <a:pt x="351" y="922"/>
                  <a:pt x="351" y="922"/>
                  <a:pt x="351" y="922"/>
                </a:cubicBezTo>
                <a:cubicBezTo>
                  <a:pt x="361" y="952"/>
                  <a:pt x="388" y="974"/>
                  <a:pt x="421" y="974"/>
                </a:cubicBezTo>
                <a:cubicBezTo>
                  <a:pt x="454" y="974"/>
                  <a:pt x="482" y="952"/>
                  <a:pt x="492" y="922"/>
                </a:cubicBezTo>
                <a:cubicBezTo>
                  <a:pt x="699" y="922"/>
                  <a:pt x="699" y="922"/>
                  <a:pt x="699" y="922"/>
                </a:cubicBezTo>
                <a:cubicBezTo>
                  <a:pt x="708" y="952"/>
                  <a:pt x="736" y="974"/>
                  <a:pt x="769" y="974"/>
                </a:cubicBezTo>
                <a:cubicBezTo>
                  <a:pt x="810" y="974"/>
                  <a:pt x="843" y="941"/>
                  <a:pt x="843" y="900"/>
                </a:cubicBezTo>
                <a:cubicBezTo>
                  <a:pt x="843" y="860"/>
                  <a:pt x="810" y="827"/>
                  <a:pt x="769" y="827"/>
                </a:cubicBezTo>
                <a:close/>
                <a:moveTo>
                  <a:pt x="74" y="930"/>
                </a:moveTo>
                <a:cubicBezTo>
                  <a:pt x="57" y="930"/>
                  <a:pt x="44" y="917"/>
                  <a:pt x="44" y="900"/>
                </a:cubicBezTo>
                <a:cubicBezTo>
                  <a:pt x="44" y="884"/>
                  <a:pt x="57" y="871"/>
                  <a:pt x="74" y="871"/>
                </a:cubicBezTo>
                <a:cubicBezTo>
                  <a:pt x="90" y="871"/>
                  <a:pt x="103" y="884"/>
                  <a:pt x="103" y="900"/>
                </a:cubicBezTo>
                <a:cubicBezTo>
                  <a:pt x="103" y="917"/>
                  <a:pt x="90" y="930"/>
                  <a:pt x="74" y="930"/>
                </a:cubicBezTo>
                <a:close/>
                <a:moveTo>
                  <a:pt x="421" y="930"/>
                </a:moveTo>
                <a:cubicBezTo>
                  <a:pt x="405" y="930"/>
                  <a:pt x="392" y="917"/>
                  <a:pt x="392" y="900"/>
                </a:cubicBezTo>
                <a:cubicBezTo>
                  <a:pt x="392" y="884"/>
                  <a:pt x="405" y="871"/>
                  <a:pt x="421" y="871"/>
                </a:cubicBezTo>
                <a:cubicBezTo>
                  <a:pt x="438" y="871"/>
                  <a:pt x="451" y="884"/>
                  <a:pt x="451" y="900"/>
                </a:cubicBezTo>
                <a:cubicBezTo>
                  <a:pt x="451" y="917"/>
                  <a:pt x="438" y="930"/>
                  <a:pt x="421" y="930"/>
                </a:cubicBezTo>
                <a:close/>
                <a:moveTo>
                  <a:pt x="769" y="930"/>
                </a:moveTo>
                <a:cubicBezTo>
                  <a:pt x="753" y="930"/>
                  <a:pt x="739" y="917"/>
                  <a:pt x="739" y="900"/>
                </a:cubicBezTo>
                <a:cubicBezTo>
                  <a:pt x="739" y="884"/>
                  <a:pt x="753" y="871"/>
                  <a:pt x="769" y="871"/>
                </a:cubicBezTo>
                <a:cubicBezTo>
                  <a:pt x="785" y="871"/>
                  <a:pt x="799" y="884"/>
                  <a:pt x="799" y="900"/>
                </a:cubicBezTo>
                <a:cubicBezTo>
                  <a:pt x="799" y="917"/>
                  <a:pt x="785" y="930"/>
                  <a:pt x="769" y="930"/>
                </a:cubicBezTo>
                <a:close/>
                <a:moveTo>
                  <a:pt x="539" y="0"/>
                </a:moveTo>
                <a:cubicBezTo>
                  <a:pt x="289" y="0"/>
                  <a:pt x="289" y="0"/>
                  <a:pt x="289" y="0"/>
                </a:cubicBezTo>
                <a:cubicBezTo>
                  <a:pt x="289" y="439"/>
                  <a:pt x="289" y="439"/>
                  <a:pt x="289" y="439"/>
                </a:cubicBezTo>
                <a:cubicBezTo>
                  <a:pt x="351" y="439"/>
                  <a:pt x="351" y="439"/>
                  <a:pt x="351" y="439"/>
                </a:cubicBezTo>
                <a:cubicBezTo>
                  <a:pt x="351" y="546"/>
                  <a:pt x="351" y="546"/>
                  <a:pt x="351" y="546"/>
                </a:cubicBezTo>
                <a:cubicBezTo>
                  <a:pt x="729" y="546"/>
                  <a:pt x="729" y="546"/>
                  <a:pt x="729" y="546"/>
                </a:cubicBezTo>
                <a:cubicBezTo>
                  <a:pt x="729" y="439"/>
                  <a:pt x="729" y="439"/>
                  <a:pt x="729" y="439"/>
                </a:cubicBezTo>
                <a:cubicBezTo>
                  <a:pt x="788" y="439"/>
                  <a:pt x="788" y="439"/>
                  <a:pt x="788" y="439"/>
                </a:cubicBezTo>
                <a:cubicBezTo>
                  <a:pt x="788" y="259"/>
                  <a:pt x="788" y="259"/>
                  <a:pt x="788" y="259"/>
                </a:cubicBezTo>
                <a:lnTo>
                  <a:pt x="539" y="0"/>
                </a:lnTo>
                <a:close/>
                <a:moveTo>
                  <a:pt x="603" y="310"/>
                </a:moveTo>
                <a:cubicBezTo>
                  <a:pt x="411" y="310"/>
                  <a:pt x="411" y="310"/>
                  <a:pt x="411" y="310"/>
                </a:cubicBezTo>
                <a:cubicBezTo>
                  <a:pt x="411" y="157"/>
                  <a:pt x="411" y="157"/>
                  <a:pt x="411" y="157"/>
                </a:cubicBezTo>
                <a:cubicBezTo>
                  <a:pt x="508" y="157"/>
                  <a:pt x="508" y="157"/>
                  <a:pt x="508" y="157"/>
                </a:cubicBezTo>
                <a:cubicBezTo>
                  <a:pt x="603" y="249"/>
                  <a:pt x="603" y="249"/>
                  <a:pt x="603" y="249"/>
                </a:cubicBezTo>
                <a:lnTo>
                  <a:pt x="603" y="310"/>
                </a:lnTo>
                <a:close/>
                <a:moveTo>
                  <a:pt x="307" y="483"/>
                </a:moveTo>
                <a:cubicBezTo>
                  <a:pt x="307" y="546"/>
                  <a:pt x="307" y="546"/>
                  <a:pt x="307" y="546"/>
                </a:cubicBezTo>
                <a:cubicBezTo>
                  <a:pt x="45" y="546"/>
                  <a:pt x="45" y="546"/>
                  <a:pt x="45" y="546"/>
                </a:cubicBezTo>
                <a:cubicBezTo>
                  <a:pt x="45" y="330"/>
                  <a:pt x="45" y="330"/>
                  <a:pt x="45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483"/>
                  <a:pt x="245" y="483"/>
                  <a:pt x="245" y="483"/>
                </a:cubicBezTo>
                <a:lnTo>
                  <a:pt x="307" y="483"/>
                </a:lnTo>
                <a:close/>
              </a:path>
            </a:pathLst>
          </a:custGeom>
          <a:solidFill xmlns:a="http://schemas.openxmlformats.org/drawingml/2006/main">
            <a:schemeClr val="tx2"/>
          </a:solidFill>
          <a:ln xmlns:a="http://schemas.openxmlformats.org/drawingml/2006/main">
            <a:noFill/>
          </a:ln>
          <a:extLst xmlns:a="http://schemas.openxmlformats.org/drawingml/2006/main"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cdr:spPr>
        <cdr:txBody>
          <a:bodyPr xmlns:a="http://schemas.openxmlformats.org/drawingml/2006/main" vert="horz" wrap="square" lIns="91440" tIns="45720" rIns="91440" bIns="45720" numCol="1" anchor="t" anchorCtr="0" compatLnSpc="1">
            <a:prstTxWarp prst="textNoShape">
              <a:avLst/>
            </a:prstTxWarp>
          </a:bodyPr>
          <a:lstStyle xmlns:a="http://schemas.openxmlformats.org/drawingml/2006/main"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 xmlns:a="http://schemas.openxmlformats.org/drawingml/2006/main"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</a:endParaRPr>
          </a:p>
        </cdr:txBody>
      </cdr:sp>
      <cdr:sp macro="" textlink="">
        <cdr:nvSpPr>
          <cdr:cNvPr id="13" name="Freeform 6">
            <a:extLst xmlns:a="http://schemas.openxmlformats.org/drawingml/2006/main">
              <a:ext uri="{FF2B5EF4-FFF2-40B4-BE49-F238E27FC236}">
                <a16:creationId xmlns:r="http://schemas.openxmlformats.org/officeDocument/2006/relationships" xmlns:p="http://schemas.openxmlformats.org/presentationml/2006/main" xmlns:a16="http://schemas.microsoft.com/office/drawing/2014/main" xmlns="" xmlns:lc="http://schemas.openxmlformats.org/drawingml/2006/lockedCanvas" id="{FBB3A9F3-4B8D-4480-AA1C-BFB67F58E026}"/>
              </a:ext>
            </a:extLst>
          </cdr:cNvPr>
          <cdr:cNvSpPr>
            <a:spLocks xmlns:a="http://schemas.openxmlformats.org/drawingml/2006/main" noEditPoints="1"/>
          </cdr:cNvSpPr>
        </cdr:nvSpPr>
        <cdr:spPr bwMode="auto">
          <a:xfrm xmlns:a="http://schemas.openxmlformats.org/drawingml/2006/main">
            <a:off x="-5020" y="-52488"/>
            <a:ext cx="34" cy="30"/>
          </a:xfrm>
          <a:custGeom xmlns:a="http://schemas.openxmlformats.org/drawingml/2006/main">
            <a:avLst/>
            <a:gdLst>
              <a:gd name="T0" fmla="*/ 0 w 1856"/>
              <a:gd name="T1" fmla="*/ 1488 h 1648"/>
              <a:gd name="T2" fmla="*/ 1023 w 1856"/>
              <a:gd name="T3" fmla="*/ 1488 h 1648"/>
              <a:gd name="T4" fmla="*/ 44 w 1856"/>
              <a:gd name="T5" fmla="*/ 1488 h 1648"/>
              <a:gd name="T6" fmla="*/ 979 w 1856"/>
              <a:gd name="T7" fmla="*/ 1488 h 1648"/>
              <a:gd name="T8" fmla="*/ 1782 w 1856"/>
              <a:gd name="T9" fmla="*/ 661 h 1648"/>
              <a:gd name="T10" fmla="*/ 1775 w 1856"/>
              <a:gd name="T11" fmla="*/ 129 h 1648"/>
              <a:gd name="T12" fmla="*/ 1645 w 1856"/>
              <a:gd name="T13" fmla="*/ 4 h 1648"/>
              <a:gd name="T14" fmla="*/ 1642 w 1856"/>
              <a:gd name="T15" fmla="*/ 2 h 1648"/>
              <a:gd name="T16" fmla="*/ 1638 w 1856"/>
              <a:gd name="T17" fmla="*/ 1 h 1648"/>
              <a:gd name="T18" fmla="*/ 1632 w 1856"/>
              <a:gd name="T19" fmla="*/ 0 h 1648"/>
              <a:gd name="T20" fmla="*/ 1628 w 1856"/>
              <a:gd name="T21" fmla="*/ 1 h 1648"/>
              <a:gd name="T22" fmla="*/ 135 w 1856"/>
              <a:gd name="T23" fmla="*/ 385 h 1648"/>
              <a:gd name="T24" fmla="*/ 144 w 1856"/>
              <a:gd name="T25" fmla="*/ 531 h 1648"/>
              <a:gd name="T26" fmla="*/ 56 w 1856"/>
              <a:gd name="T27" fmla="*/ 614 h 1648"/>
              <a:gd name="T28" fmla="*/ 335 w 1856"/>
              <a:gd name="T29" fmla="*/ 868 h 1648"/>
              <a:gd name="T30" fmla="*/ 211 w 1856"/>
              <a:gd name="T31" fmla="*/ 580 h 1648"/>
              <a:gd name="T32" fmla="*/ 208 w 1856"/>
              <a:gd name="T33" fmla="*/ 454 h 1648"/>
              <a:gd name="T34" fmla="*/ 707 w 1856"/>
              <a:gd name="T35" fmla="*/ 607 h 1648"/>
              <a:gd name="T36" fmla="*/ 851 w 1856"/>
              <a:gd name="T37" fmla="*/ 755 h 1648"/>
              <a:gd name="T38" fmla="*/ 869 w 1856"/>
              <a:gd name="T39" fmla="*/ 774 h 1648"/>
              <a:gd name="T40" fmla="*/ 1512 w 1856"/>
              <a:gd name="T41" fmla="*/ 355 h 1648"/>
              <a:gd name="T42" fmla="*/ 1760 w 1856"/>
              <a:gd name="T43" fmla="*/ 702 h 1648"/>
              <a:gd name="T44" fmla="*/ 1713 w 1856"/>
              <a:gd name="T45" fmla="*/ 779 h 1648"/>
              <a:gd name="T46" fmla="*/ 1760 w 1856"/>
              <a:gd name="T47" fmla="*/ 852 h 1648"/>
              <a:gd name="T48" fmla="*/ 135 w 1856"/>
              <a:gd name="T49" fmla="*/ 488 h 1648"/>
              <a:gd name="T50" fmla="*/ 165 w 1856"/>
              <a:gd name="T51" fmla="*/ 458 h 1648"/>
              <a:gd name="T52" fmla="*/ 291 w 1856"/>
              <a:gd name="T53" fmla="*/ 824 h 1648"/>
              <a:gd name="T54" fmla="*/ 100 w 1856"/>
              <a:gd name="T55" fmla="*/ 632 h 1648"/>
              <a:gd name="T56" fmla="*/ 879 w 1856"/>
              <a:gd name="T57" fmla="*/ 503 h 1648"/>
              <a:gd name="T58" fmla="*/ 1114 w 1856"/>
              <a:gd name="T59" fmla="*/ 594 h 1648"/>
              <a:gd name="T60" fmla="*/ 1114 w 1856"/>
              <a:gd name="T61" fmla="*/ 594 h 1648"/>
              <a:gd name="T62" fmla="*/ 1291 w 1856"/>
              <a:gd name="T63" fmla="*/ 254 h 1648"/>
              <a:gd name="T64" fmla="*/ 1335 w 1856"/>
              <a:gd name="T65" fmla="*/ 256 h 1648"/>
              <a:gd name="T66" fmla="*/ 1477 w 1856"/>
              <a:gd name="T67" fmla="*/ 296 h 1648"/>
              <a:gd name="T68" fmla="*/ 1477 w 1856"/>
              <a:gd name="T69" fmla="*/ 296 h 1648"/>
              <a:gd name="T70" fmla="*/ 1608 w 1856"/>
              <a:gd name="T71" fmla="*/ 229 h 1648"/>
              <a:gd name="T72" fmla="*/ 1613 w 1856"/>
              <a:gd name="T73" fmla="*/ 60 h 1648"/>
              <a:gd name="T74" fmla="*/ 1664 w 1856"/>
              <a:gd name="T75" fmla="*/ 188 h 1648"/>
              <a:gd name="T76" fmla="*/ 1664 w 1856"/>
              <a:gd name="T77" fmla="*/ 188 h 1648"/>
              <a:gd name="T78" fmla="*/ 512 w 1856"/>
              <a:gd name="T79" fmla="*/ 1178 h 1648"/>
              <a:gd name="T80" fmla="*/ 738 w 1856"/>
              <a:gd name="T81" fmla="*/ 1275 h 1648"/>
              <a:gd name="T82" fmla="*/ 694 w 1856"/>
              <a:gd name="T83" fmla="*/ 1275 h 1648"/>
              <a:gd name="T84" fmla="*/ 264 w 1856"/>
              <a:gd name="T85" fmla="*/ 1178 h 1648"/>
              <a:gd name="T86" fmla="*/ 264 w 1856"/>
              <a:gd name="T87" fmla="*/ 1275 h 1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856" h="1648">
                <a:moveTo>
                  <a:pt x="863" y="1648"/>
                </a:moveTo>
                <a:cubicBezTo>
                  <a:pt x="159" y="1648"/>
                  <a:pt x="159" y="1648"/>
                  <a:pt x="159" y="1648"/>
                </a:cubicBezTo>
                <a:cubicBezTo>
                  <a:pt x="72" y="1648"/>
                  <a:pt x="0" y="1576"/>
                  <a:pt x="0" y="1488"/>
                </a:cubicBezTo>
                <a:cubicBezTo>
                  <a:pt x="0" y="1401"/>
                  <a:pt x="72" y="1329"/>
                  <a:pt x="159" y="1329"/>
                </a:cubicBezTo>
                <a:cubicBezTo>
                  <a:pt x="863" y="1329"/>
                  <a:pt x="863" y="1329"/>
                  <a:pt x="863" y="1329"/>
                </a:cubicBezTo>
                <a:cubicBezTo>
                  <a:pt x="951" y="1329"/>
                  <a:pt x="1023" y="1401"/>
                  <a:pt x="1023" y="1488"/>
                </a:cubicBezTo>
                <a:cubicBezTo>
                  <a:pt x="1023" y="1576"/>
                  <a:pt x="951" y="1648"/>
                  <a:pt x="863" y="1648"/>
                </a:cubicBezTo>
                <a:close/>
                <a:moveTo>
                  <a:pt x="159" y="1373"/>
                </a:moveTo>
                <a:cubicBezTo>
                  <a:pt x="96" y="1373"/>
                  <a:pt x="44" y="1425"/>
                  <a:pt x="44" y="1488"/>
                </a:cubicBezTo>
                <a:cubicBezTo>
                  <a:pt x="44" y="1552"/>
                  <a:pt x="96" y="1604"/>
                  <a:pt x="159" y="1604"/>
                </a:cubicBezTo>
                <a:cubicBezTo>
                  <a:pt x="863" y="1604"/>
                  <a:pt x="863" y="1604"/>
                  <a:pt x="863" y="1604"/>
                </a:cubicBezTo>
                <a:cubicBezTo>
                  <a:pt x="927" y="1604"/>
                  <a:pt x="979" y="1552"/>
                  <a:pt x="979" y="1488"/>
                </a:cubicBezTo>
                <a:cubicBezTo>
                  <a:pt x="979" y="1425"/>
                  <a:pt x="927" y="1373"/>
                  <a:pt x="863" y="1373"/>
                </a:cubicBezTo>
                <a:lnTo>
                  <a:pt x="159" y="1373"/>
                </a:lnTo>
                <a:close/>
                <a:moveTo>
                  <a:pt x="1782" y="661"/>
                </a:moveTo>
                <a:cubicBezTo>
                  <a:pt x="1782" y="147"/>
                  <a:pt x="1782" y="147"/>
                  <a:pt x="1782" y="147"/>
                </a:cubicBezTo>
                <a:cubicBezTo>
                  <a:pt x="1782" y="147"/>
                  <a:pt x="1782" y="147"/>
                  <a:pt x="1782" y="146"/>
                </a:cubicBezTo>
                <a:cubicBezTo>
                  <a:pt x="1782" y="140"/>
                  <a:pt x="1780" y="133"/>
                  <a:pt x="1775" y="129"/>
                </a:cubicBezTo>
                <a:cubicBezTo>
                  <a:pt x="1648" y="6"/>
                  <a:pt x="1648" y="6"/>
                  <a:pt x="1648" y="6"/>
                </a:cubicBezTo>
                <a:cubicBezTo>
                  <a:pt x="1648" y="6"/>
                  <a:pt x="1648" y="6"/>
                  <a:pt x="1648" y="6"/>
                </a:cubicBezTo>
                <a:cubicBezTo>
                  <a:pt x="1647" y="5"/>
                  <a:pt x="1646" y="5"/>
                  <a:pt x="1645" y="4"/>
                </a:cubicBezTo>
                <a:cubicBezTo>
                  <a:pt x="1645" y="4"/>
                  <a:pt x="1645" y="4"/>
                  <a:pt x="1645" y="4"/>
                </a:cubicBezTo>
                <a:cubicBezTo>
                  <a:pt x="1645" y="4"/>
                  <a:pt x="1645" y="4"/>
                  <a:pt x="1645" y="4"/>
                </a:cubicBezTo>
                <a:cubicBezTo>
                  <a:pt x="1644" y="3"/>
                  <a:pt x="1643" y="3"/>
                  <a:pt x="1642" y="2"/>
                </a:cubicBezTo>
                <a:cubicBezTo>
                  <a:pt x="1642" y="2"/>
                  <a:pt x="1642" y="2"/>
                  <a:pt x="1642" y="2"/>
                </a:cubicBezTo>
                <a:cubicBezTo>
                  <a:pt x="1641" y="2"/>
                  <a:pt x="1640" y="1"/>
                  <a:pt x="1639" y="1"/>
                </a:cubicBezTo>
                <a:cubicBezTo>
                  <a:pt x="1639" y="1"/>
                  <a:pt x="1638" y="1"/>
                  <a:pt x="1638" y="1"/>
                </a:cubicBezTo>
                <a:cubicBezTo>
                  <a:pt x="1637" y="1"/>
                  <a:pt x="1637" y="0"/>
                  <a:pt x="1636" y="0"/>
                </a:cubicBezTo>
                <a:cubicBezTo>
                  <a:pt x="1635" y="0"/>
                  <a:pt x="1635" y="0"/>
                  <a:pt x="1635" y="0"/>
                </a:cubicBezTo>
                <a:cubicBezTo>
                  <a:pt x="1634" y="0"/>
                  <a:pt x="1633" y="0"/>
                  <a:pt x="1632" y="0"/>
                </a:cubicBezTo>
                <a:cubicBezTo>
                  <a:pt x="1632" y="0"/>
                  <a:pt x="1632" y="0"/>
                  <a:pt x="1632" y="0"/>
                </a:cubicBezTo>
                <a:cubicBezTo>
                  <a:pt x="1631" y="0"/>
                  <a:pt x="1630" y="0"/>
                  <a:pt x="1629" y="0"/>
                </a:cubicBezTo>
                <a:cubicBezTo>
                  <a:pt x="1628" y="1"/>
                  <a:pt x="1628" y="1"/>
                  <a:pt x="1628" y="1"/>
                </a:cubicBezTo>
                <a:cubicBezTo>
                  <a:pt x="1627" y="1"/>
                  <a:pt x="1627" y="1"/>
                  <a:pt x="1627" y="1"/>
                </a:cubicBezTo>
                <a:cubicBezTo>
                  <a:pt x="192" y="412"/>
                  <a:pt x="192" y="412"/>
                  <a:pt x="192" y="412"/>
                </a:cubicBezTo>
                <a:cubicBezTo>
                  <a:pt x="179" y="396"/>
                  <a:pt x="158" y="385"/>
                  <a:pt x="135" y="385"/>
                </a:cubicBezTo>
                <a:cubicBezTo>
                  <a:pt x="95" y="385"/>
                  <a:pt x="62" y="418"/>
                  <a:pt x="62" y="458"/>
                </a:cubicBezTo>
                <a:cubicBezTo>
                  <a:pt x="62" y="499"/>
                  <a:pt x="95" y="532"/>
                  <a:pt x="135" y="532"/>
                </a:cubicBezTo>
                <a:cubicBezTo>
                  <a:pt x="138" y="532"/>
                  <a:pt x="141" y="532"/>
                  <a:pt x="144" y="531"/>
                </a:cubicBezTo>
                <a:cubicBezTo>
                  <a:pt x="167" y="588"/>
                  <a:pt x="167" y="588"/>
                  <a:pt x="167" y="588"/>
                </a:cubicBezTo>
                <a:cubicBezTo>
                  <a:pt x="81" y="588"/>
                  <a:pt x="81" y="588"/>
                  <a:pt x="81" y="588"/>
                </a:cubicBezTo>
                <a:cubicBezTo>
                  <a:pt x="67" y="588"/>
                  <a:pt x="56" y="600"/>
                  <a:pt x="56" y="614"/>
                </a:cubicBezTo>
                <a:cubicBezTo>
                  <a:pt x="56" y="784"/>
                  <a:pt x="56" y="784"/>
                  <a:pt x="56" y="784"/>
                </a:cubicBezTo>
                <a:cubicBezTo>
                  <a:pt x="139" y="868"/>
                  <a:pt x="139" y="868"/>
                  <a:pt x="139" y="868"/>
                </a:cubicBezTo>
                <a:cubicBezTo>
                  <a:pt x="335" y="868"/>
                  <a:pt x="335" y="868"/>
                  <a:pt x="335" y="868"/>
                </a:cubicBezTo>
                <a:cubicBezTo>
                  <a:pt x="335" y="588"/>
                  <a:pt x="335" y="588"/>
                  <a:pt x="335" y="588"/>
                </a:cubicBezTo>
                <a:cubicBezTo>
                  <a:pt x="213" y="588"/>
                  <a:pt x="213" y="588"/>
                  <a:pt x="213" y="588"/>
                </a:cubicBezTo>
                <a:cubicBezTo>
                  <a:pt x="213" y="585"/>
                  <a:pt x="212" y="583"/>
                  <a:pt x="211" y="580"/>
                </a:cubicBezTo>
                <a:cubicBezTo>
                  <a:pt x="184" y="513"/>
                  <a:pt x="184" y="513"/>
                  <a:pt x="184" y="513"/>
                </a:cubicBezTo>
                <a:cubicBezTo>
                  <a:pt x="199" y="500"/>
                  <a:pt x="209" y="480"/>
                  <a:pt x="209" y="458"/>
                </a:cubicBezTo>
                <a:cubicBezTo>
                  <a:pt x="209" y="457"/>
                  <a:pt x="209" y="455"/>
                  <a:pt x="208" y="454"/>
                </a:cubicBezTo>
                <a:cubicBezTo>
                  <a:pt x="1479" y="89"/>
                  <a:pt x="1479" y="89"/>
                  <a:pt x="1479" y="89"/>
                </a:cubicBezTo>
                <a:cubicBezTo>
                  <a:pt x="676" y="574"/>
                  <a:pt x="676" y="574"/>
                  <a:pt x="676" y="574"/>
                </a:cubicBezTo>
                <a:cubicBezTo>
                  <a:pt x="707" y="607"/>
                  <a:pt x="707" y="607"/>
                  <a:pt x="707" y="607"/>
                </a:cubicBezTo>
                <a:cubicBezTo>
                  <a:pt x="812" y="544"/>
                  <a:pt x="812" y="544"/>
                  <a:pt x="812" y="544"/>
                </a:cubicBezTo>
                <a:cubicBezTo>
                  <a:pt x="808" y="711"/>
                  <a:pt x="808" y="711"/>
                  <a:pt x="808" y="711"/>
                </a:cubicBezTo>
                <a:cubicBezTo>
                  <a:pt x="851" y="755"/>
                  <a:pt x="851" y="755"/>
                  <a:pt x="851" y="755"/>
                </a:cubicBezTo>
                <a:cubicBezTo>
                  <a:pt x="856" y="540"/>
                  <a:pt x="856" y="540"/>
                  <a:pt x="856" y="540"/>
                </a:cubicBezTo>
                <a:cubicBezTo>
                  <a:pt x="1050" y="641"/>
                  <a:pt x="1050" y="641"/>
                  <a:pt x="1050" y="641"/>
                </a:cubicBezTo>
                <a:cubicBezTo>
                  <a:pt x="869" y="774"/>
                  <a:pt x="869" y="774"/>
                  <a:pt x="869" y="774"/>
                </a:cubicBezTo>
                <a:cubicBezTo>
                  <a:pt x="900" y="806"/>
                  <a:pt x="900" y="806"/>
                  <a:pt x="900" y="806"/>
                </a:cubicBezTo>
                <a:cubicBezTo>
                  <a:pt x="1512" y="355"/>
                  <a:pt x="1512" y="355"/>
                  <a:pt x="1512" y="355"/>
                </a:cubicBezTo>
                <a:cubicBezTo>
                  <a:pt x="1512" y="355"/>
                  <a:pt x="1512" y="355"/>
                  <a:pt x="1512" y="355"/>
                </a:cubicBezTo>
                <a:cubicBezTo>
                  <a:pt x="1738" y="188"/>
                  <a:pt x="1738" y="188"/>
                  <a:pt x="1738" y="188"/>
                </a:cubicBezTo>
                <a:cubicBezTo>
                  <a:pt x="1738" y="680"/>
                  <a:pt x="1738" y="680"/>
                  <a:pt x="1738" y="680"/>
                </a:cubicBezTo>
                <a:cubicBezTo>
                  <a:pt x="1738" y="693"/>
                  <a:pt x="1747" y="702"/>
                  <a:pt x="1760" y="702"/>
                </a:cubicBezTo>
                <a:cubicBezTo>
                  <a:pt x="1789" y="702"/>
                  <a:pt x="1812" y="726"/>
                  <a:pt x="1812" y="755"/>
                </a:cubicBezTo>
                <a:cubicBezTo>
                  <a:pt x="1812" y="784"/>
                  <a:pt x="1789" y="808"/>
                  <a:pt x="1760" y="808"/>
                </a:cubicBezTo>
                <a:cubicBezTo>
                  <a:pt x="1740" y="808"/>
                  <a:pt x="1722" y="797"/>
                  <a:pt x="1713" y="779"/>
                </a:cubicBezTo>
                <a:cubicBezTo>
                  <a:pt x="1707" y="768"/>
                  <a:pt x="1694" y="764"/>
                  <a:pt x="1683" y="770"/>
                </a:cubicBezTo>
                <a:cubicBezTo>
                  <a:pt x="1672" y="775"/>
                  <a:pt x="1668" y="789"/>
                  <a:pt x="1674" y="800"/>
                </a:cubicBezTo>
                <a:cubicBezTo>
                  <a:pt x="1690" y="832"/>
                  <a:pt x="1723" y="852"/>
                  <a:pt x="1760" y="852"/>
                </a:cubicBezTo>
                <a:cubicBezTo>
                  <a:pt x="1813" y="852"/>
                  <a:pt x="1856" y="808"/>
                  <a:pt x="1856" y="755"/>
                </a:cubicBezTo>
                <a:cubicBezTo>
                  <a:pt x="1856" y="709"/>
                  <a:pt x="1824" y="671"/>
                  <a:pt x="1782" y="661"/>
                </a:cubicBezTo>
                <a:close/>
                <a:moveTo>
                  <a:pt x="135" y="488"/>
                </a:moveTo>
                <a:cubicBezTo>
                  <a:pt x="119" y="488"/>
                  <a:pt x="106" y="475"/>
                  <a:pt x="106" y="458"/>
                </a:cubicBezTo>
                <a:cubicBezTo>
                  <a:pt x="106" y="442"/>
                  <a:pt x="119" y="429"/>
                  <a:pt x="135" y="429"/>
                </a:cubicBezTo>
                <a:cubicBezTo>
                  <a:pt x="151" y="429"/>
                  <a:pt x="165" y="442"/>
                  <a:pt x="165" y="458"/>
                </a:cubicBezTo>
                <a:cubicBezTo>
                  <a:pt x="165" y="475"/>
                  <a:pt x="151" y="488"/>
                  <a:pt x="135" y="488"/>
                </a:cubicBezTo>
                <a:close/>
                <a:moveTo>
                  <a:pt x="291" y="632"/>
                </a:moveTo>
                <a:cubicBezTo>
                  <a:pt x="291" y="824"/>
                  <a:pt x="291" y="824"/>
                  <a:pt x="291" y="824"/>
                </a:cubicBezTo>
                <a:cubicBezTo>
                  <a:pt x="157" y="824"/>
                  <a:pt x="157" y="824"/>
                  <a:pt x="157" y="824"/>
                </a:cubicBezTo>
                <a:cubicBezTo>
                  <a:pt x="100" y="766"/>
                  <a:pt x="100" y="766"/>
                  <a:pt x="100" y="766"/>
                </a:cubicBezTo>
                <a:cubicBezTo>
                  <a:pt x="100" y="632"/>
                  <a:pt x="100" y="632"/>
                  <a:pt x="100" y="632"/>
                </a:cubicBezTo>
                <a:lnTo>
                  <a:pt x="291" y="632"/>
                </a:lnTo>
                <a:close/>
                <a:moveTo>
                  <a:pt x="1070" y="601"/>
                </a:moveTo>
                <a:cubicBezTo>
                  <a:pt x="879" y="503"/>
                  <a:pt x="879" y="503"/>
                  <a:pt x="879" y="503"/>
                </a:cubicBezTo>
                <a:cubicBezTo>
                  <a:pt x="1070" y="388"/>
                  <a:pt x="1070" y="388"/>
                  <a:pt x="1070" y="388"/>
                </a:cubicBezTo>
                <a:lnTo>
                  <a:pt x="1070" y="601"/>
                </a:lnTo>
                <a:close/>
                <a:moveTo>
                  <a:pt x="1114" y="594"/>
                </a:moveTo>
                <a:cubicBezTo>
                  <a:pt x="1114" y="387"/>
                  <a:pt x="1114" y="387"/>
                  <a:pt x="1114" y="387"/>
                </a:cubicBezTo>
                <a:cubicBezTo>
                  <a:pt x="1272" y="477"/>
                  <a:pt x="1272" y="477"/>
                  <a:pt x="1272" y="477"/>
                </a:cubicBezTo>
                <a:lnTo>
                  <a:pt x="1114" y="594"/>
                </a:lnTo>
                <a:close/>
                <a:moveTo>
                  <a:pt x="1291" y="437"/>
                </a:moveTo>
                <a:cubicBezTo>
                  <a:pt x="1135" y="348"/>
                  <a:pt x="1135" y="348"/>
                  <a:pt x="1135" y="348"/>
                </a:cubicBezTo>
                <a:cubicBezTo>
                  <a:pt x="1291" y="254"/>
                  <a:pt x="1291" y="254"/>
                  <a:pt x="1291" y="254"/>
                </a:cubicBezTo>
                <a:lnTo>
                  <a:pt x="1291" y="437"/>
                </a:lnTo>
                <a:close/>
                <a:moveTo>
                  <a:pt x="1335" y="431"/>
                </a:moveTo>
                <a:cubicBezTo>
                  <a:pt x="1335" y="256"/>
                  <a:pt x="1335" y="256"/>
                  <a:pt x="1335" y="256"/>
                </a:cubicBezTo>
                <a:cubicBezTo>
                  <a:pt x="1461" y="338"/>
                  <a:pt x="1461" y="338"/>
                  <a:pt x="1461" y="338"/>
                </a:cubicBezTo>
                <a:lnTo>
                  <a:pt x="1335" y="431"/>
                </a:lnTo>
                <a:close/>
                <a:moveTo>
                  <a:pt x="1477" y="296"/>
                </a:moveTo>
                <a:cubicBezTo>
                  <a:pt x="1354" y="216"/>
                  <a:pt x="1354" y="216"/>
                  <a:pt x="1354" y="216"/>
                </a:cubicBezTo>
                <a:cubicBezTo>
                  <a:pt x="1477" y="142"/>
                  <a:pt x="1477" y="142"/>
                  <a:pt x="1477" y="142"/>
                </a:cubicBezTo>
                <a:lnTo>
                  <a:pt x="1477" y="296"/>
                </a:lnTo>
                <a:close/>
                <a:moveTo>
                  <a:pt x="1521" y="293"/>
                </a:moveTo>
                <a:cubicBezTo>
                  <a:pt x="1521" y="159"/>
                  <a:pt x="1521" y="159"/>
                  <a:pt x="1521" y="159"/>
                </a:cubicBezTo>
                <a:cubicBezTo>
                  <a:pt x="1608" y="229"/>
                  <a:pt x="1608" y="229"/>
                  <a:pt x="1608" y="229"/>
                </a:cubicBezTo>
                <a:lnTo>
                  <a:pt x="1521" y="293"/>
                </a:lnTo>
                <a:close/>
                <a:moveTo>
                  <a:pt x="1530" y="110"/>
                </a:moveTo>
                <a:cubicBezTo>
                  <a:pt x="1613" y="60"/>
                  <a:pt x="1613" y="60"/>
                  <a:pt x="1613" y="60"/>
                </a:cubicBezTo>
                <a:cubicBezTo>
                  <a:pt x="1620" y="182"/>
                  <a:pt x="1620" y="182"/>
                  <a:pt x="1620" y="182"/>
                </a:cubicBezTo>
                <a:lnTo>
                  <a:pt x="1530" y="110"/>
                </a:lnTo>
                <a:close/>
                <a:moveTo>
                  <a:pt x="1664" y="188"/>
                </a:moveTo>
                <a:cubicBezTo>
                  <a:pt x="1658" y="77"/>
                  <a:pt x="1658" y="77"/>
                  <a:pt x="1658" y="77"/>
                </a:cubicBezTo>
                <a:cubicBezTo>
                  <a:pt x="1726" y="142"/>
                  <a:pt x="1726" y="142"/>
                  <a:pt x="1726" y="142"/>
                </a:cubicBezTo>
                <a:lnTo>
                  <a:pt x="1664" y="188"/>
                </a:lnTo>
                <a:close/>
                <a:moveTo>
                  <a:pt x="556" y="1275"/>
                </a:moveTo>
                <a:cubicBezTo>
                  <a:pt x="556" y="1178"/>
                  <a:pt x="556" y="1178"/>
                  <a:pt x="556" y="1178"/>
                </a:cubicBezTo>
                <a:cubicBezTo>
                  <a:pt x="512" y="1178"/>
                  <a:pt x="512" y="1178"/>
                  <a:pt x="512" y="1178"/>
                </a:cubicBezTo>
                <a:cubicBezTo>
                  <a:pt x="512" y="1275"/>
                  <a:pt x="512" y="1275"/>
                  <a:pt x="512" y="1275"/>
                </a:cubicBezTo>
                <a:lnTo>
                  <a:pt x="556" y="1275"/>
                </a:lnTo>
                <a:close/>
                <a:moveTo>
                  <a:pt x="738" y="1275"/>
                </a:moveTo>
                <a:cubicBezTo>
                  <a:pt x="738" y="1178"/>
                  <a:pt x="738" y="1178"/>
                  <a:pt x="738" y="1178"/>
                </a:cubicBezTo>
                <a:cubicBezTo>
                  <a:pt x="694" y="1178"/>
                  <a:pt x="694" y="1178"/>
                  <a:pt x="694" y="1178"/>
                </a:cubicBezTo>
                <a:cubicBezTo>
                  <a:pt x="694" y="1275"/>
                  <a:pt x="694" y="1275"/>
                  <a:pt x="694" y="1275"/>
                </a:cubicBezTo>
                <a:lnTo>
                  <a:pt x="738" y="1275"/>
                </a:lnTo>
                <a:close/>
                <a:moveTo>
                  <a:pt x="264" y="1275"/>
                </a:moveTo>
                <a:cubicBezTo>
                  <a:pt x="264" y="1178"/>
                  <a:pt x="264" y="1178"/>
                  <a:pt x="264" y="1178"/>
                </a:cubicBezTo>
                <a:cubicBezTo>
                  <a:pt x="220" y="1178"/>
                  <a:pt x="220" y="1178"/>
                  <a:pt x="220" y="1178"/>
                </a:cubicBezTo>
                <a:cubicBezTo>
                  <a:pt x="220" y="1275"/>
                  <a:pt x="220" y="1275"/>
                  <a:pt x="220" y="1275"/>
                </a:cubicBezTo>
                <a:lnTo>
                  <a:pt x="264" y="1275"/>
                </a:lnTo>
                <a:close/>
              </a:path>
            </a:pathLst>
          </a:custGeom>
          <a:solidFill xmlns:a="http://schemas.openxmlformats.org/drawingml/2006/main">
            <a:schemeClr val="accent1"/>
          </a:solidFill>
          <a:ln xmlns:a="http://schemas.openxmlformats.org/drawingml/2006/main">
            <a:noFill/>
          </a:ln>
          <a:extLst xmlns:a="http://schemas.openxmlformats.org/drawingml/2006/main"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cdr:spPr>
        <cdr:txBody>
          <a:bodyPr xmlns:a="http://schemas.openxmlformats.org/drawingml/2006/main" vert="horz" wrap="square" lIns="91440" tIns="45720" rIns="91440" bIns="45720" numCol="1" anchor="t" anchorCtr="0" compatLnSpc="1">
            <a:prstTxWarp prst="textNoShape">
              <a:avLst/>
            </a:prstTxWarp>
          </a:bodyPr>
          <a:lstStyle xmlns:a="http://schemas.openxmlformats.org/drawingml/2006/main"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 xmlns:a="http://schemas.openxmlformats.org/drawingml/2006/main"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</a:endParaRPr>
          </a:p>
        </cdr:txBody>
      </cdr:sp>
    </cdr:grpSp>
  </cdr:relSizeAnchor>
  <cdr:relSizeAnchor xmlns:cdr="http://schemas.openxmlformats.org/drawingml/2006/chartDrawing">
    <cdr:from>
      <cdr:x>0.00155</cdr:x>
      <cdr:y>0</cdr:y>
    </cdr:from>
    <cdr:to>
      <cdr:x>0.38573</cdr:x>
      <cdr:y>0.24852</cdr:y>
    </cdr:to>
    <cdr:sp macro="" textlink="">
      <cdr:nvSpPr>
        <cdr:cNvPr id="14" name="Овал 13">
          <a:extLst xmlns:a="http://schemas.openxmlformats.org/drawingml/2006/main">
            <a:ext uri="{FF2B5EF4-FFF2-40B4-BE49-F238E27FC236}">
              <a16:creationId xmlns:r="http://schemas.openxmlformats.org/officeDocument/2006/relationships" xmlns:p="http://schemas.openxmlformats.org/presentationml/2006/main" xmlns:a16="http://schemas.microsoft.com/office/drawing/2014/main" xmlns="" xmlns:lc="http://schemas.openxmlformats.org/drawingml/2006/lockedCanvas" id="{E76F40AB-A406-4535-9C51-E1EFE47A07CF}"/>
            </a:ext>
          </a:extLst>
        </cdr:cNvPr>
        <cdr:cNvSpPr/>
      </cdr:nvSpPr>
      <cdr:spPr>
        <a:xfrm xmlns:a="http://schemas.openxmlformats.org/drawingml/2006/main" rot="20883941">
          <a:off x="7696" y="-805"/>
          <a:ext cx="1908519" cy="1031611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rgbClr val="C0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396C5112-B4C3-4DDC-8798-0D861F5291A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" y="3"/>
            <a:ext cx="2946400" cy="498475"/>
          </a:xfrm>
          <a:prstGeom prst="rect">
            <a:avLst/>
          </a:prstGeom>
        </p:spPr>
        <p:txBody>
          <a:bodyPr vert="horz" lIns="91256" tIns="45627" rIns="91256" bIns="45627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3C3662A6-76A5-4E90-BCE1-E96A90B65A0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9" y="3"/>
            <a:ext cx="2946400" cy="498475"/>
          </a:xfrm>
          <a:prstGeom prst="rect">
            <a:avLst/>
          </a:prstGeom>
        </p:spPr>
        <p:txBody>
          <a:bodyPr vert="horz" lIns="91256" tIns="45627" rIns="91256" bIns="45627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49C0219-6B3E-4263-A194-1E52907B4278}" type="datetimeFigureOut">
              <a:rPr lang="en-US"/>
              <a:pPr>
                <a:defRPr/>
              </a:pPr>
              <a:t>5/22/2023</a:t>
            </a:fld>
            <a:endParaRPr lang="en-US"/>
          </a:p>
        </p:txBody>
      </p:sp>
      <p:sp>
        <p:nvSpPr>
          <p:cNvPr id="4" name="Образ слайда 3">
            <a:extLst>
              <a:ext uri="{FF2B5EF4-FFF2-40B4-BE49-F238E27FC236}">
                <a16:creationId xmlns="" xmlns:a16="http://schemas.microsoft.com/office/drawing/2014/main" id="{B3F8D6B7-347D-4F6F-B669-1CC09A909F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56" tIns="45627" rIns="91256" bIns="45627" rtlCol="0" anchor="ctr"/>
          <a:lstStyle/>
          <a:p>
            <a:pPr lvl="0"/>
            <a:endParaRPr lang="en-US" noProof="0"/>
          </a:p>
        </p:txBody>
      </p:sp>
      <p:sp>
        <p:nvSpPr>
          <p:cNvPr id="5" name="Заметки 4">
            <a:extLst>
              <a:ext uri="{FF2B5EF4-FFF2-40B4-BE49-F238E27FC236}">
                <a16:creationId xmlns="" xmlns:a16="http://schemas.microsoft.com/office/drawing/2014/main" id="{D2ECC429-C13B-4D97-B265-5517D3C49F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3" y="4778378"/>
            <a:ext cx="5438775" cy="3906838"/>
          </a:xfrm>
          <a:prstGeom prst="rect">
            <a:avLst/>
          </a:prstGeom>
        </p:spPr>
        <p:txBody>
          <a:bodyPr vert="horz" lIns="91256" tIns="45627" rIns="91256" bIns="45627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US" noProof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3CD08CE4-1E45-45B3-B8F2-D084C23440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" y="9428164"/>
            <a:ext cx="2946400" cy="498475"/>
          </a:xfrm>
          <a:prstGeom prst="rect">
            <a:avLst/>
          </a:prstGeom>
        </p:spPr>
        <p:txBody>
          <a:bodyPr vert="horz" lIns="91256" tIns="45627" rIns="91256" bIns="45627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5A17D4E9-0AF5-415F-8604-6A4C7D7F29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9" y="9428164"/>
            <a:ext cx="2946400" cy="498475"/>
          </a:xfrm>
          <a:prstGeom prst="rect">
            <a:avLst/>
          </a:prstGeom>
        </p:spPr>
        <p:txBody>
          <a:bodyPr vert="horz" wrap="square" lIns="91256" tIns="45627" rIns="91256" bIns="4562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96FFDB29-8E07-4879-861A-6BCE73CF227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488365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FFDB29-8E07-4879-861A-6BCE73CF227A}" type="slidenum">
              <a:rPr lang="en-US" altLang="en-US" smtClean="0"/>
              <a:pPr>
                <a:defRPr/>
              </a:pPr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0318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9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8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7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0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.bin"/><Relationship Id="rId3" Type="http://schemas.openxmlformats.org/officeDocument/2006/relationships/tags" Target="../tags/tag17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45.v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4" Type="http://schemas.openxmlformats.org/officeDocument/2006/relationships/tags" Target="../tags/tag171.xml"/><Relationship Id="rId9" Type="http://schemas.openxmlformats.org/officeDocument/2006/relationships/image" Target="../media/image2.emf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75.xml"/><Relationship Id="rId7" Type="http://schemas.openxmlformats.org/officeDocument/2006/relationships/oleObject" Target="../embeddings/oleObject49.bin"/><Relationship Id="rId2" Type="http://schemas.openxmlformats.org/officeDocument/2006/relationships/tags" Target="../tags/tag174.xml"/><Relationship Id="rId1" Type="http://schemas.openxmlformats.org/officeDocument/2006/relationships/vmlDrawing" Target="../drawings/vmlDrawing4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79.xml"/><Relationship Id="rId7" Type="http://schemas.openxmlformats.org/officeDocument/2006/relationships/oleObject" Target="../embeddings/oleObject50.bin"/><Relationship Id="rId2" Type="http://schemas.openxmlformats.org/officeDocument/2006/relationships/tags" Target="../tags/tag178.xml"/><Relationship Id="rId1" Type="http://schemas.openxmlformats.org/officeDocument/2006/relationships/vmlDrawing" Target="../drawings/vmlDrawing4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81.xml"/><Relationship Id="rId4" Type="http://schemas.openxmlformats.org/officeDocument/2006/relationships/tags" Target="../tags/tag18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7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49.vml"/><Relationship Id="rId6" Type="http://schemas.openxmlformats.org/officeDocument/2006/relationships/tags" Target="../tags/tag188.xml"/><Relationship Id="rId11" Type="http://schemas.openxmlformats.org/officeDocument/2006/relationships/oleObject" Target="../embeddings/oleObject53.bin"/><Relationship Id="rId5" Type="http://schemas.openxmlformats.org/officeDocument/2006/relationships/tags" Target="../tags/tag187.xml"/><Relationship Id="rId10" Type="http://schemas.openxmlformats.org/officeDocument/2006/relationships/image" Target="../media/image2.emf"/><Relationship Id="rId4" Type="http://schemas.openxmlformats.org/officeDocument/2006/relationships/tags" Target="../tags/tag186.xml"/><Relationship Id="rId9" Type="http://schemas.openxmlformats.org/officeDocument/2006/relationships/oleObject" Target="../embeddings/oleObject5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.bin"/><Relationship Id="rId3" Type="http://schemas.openxmlformats.org/officeDocument/2006/relationships/tags" Target="../tags/tag19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50.vml"/><Relationship Id="rId6" Type="http://schemas.openxmlformats.org/officeDocument/2006/relationships/tags" Target="../tags/tag194.xml"/><Relationship Id="rId5" Type="http://schemas.openxmlformats.org/officeDocument/2006/relationships/tags" Target="../tags/tag193.xml"/><Relationship Id="rId10" Type="http://schemas.openxmlformats.org/officeDocument/2006/relationships/oleObject" Target="../embeddings/oleObject55.bin"/><Relationship Id="rId4" Type="http://schemas.openxmlformats.org/officeDocument/2006/relationships/tags" Target="../tags/tag192.xml"/><Relationship Id="rId9" Type="http://schemas.openxmlformats.org/officeDocument/2006/relationships/image" Target="../media/image2.emf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3" Type="http://schemas.openxmlformats.org/officeDocument/2006/relationships/tags" Target="../tags/tag19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51.v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10" Type="http://schemas.openxmlformats.org/officeDocument/2006/relationships/oleObject" Target="../embeddings/oleObject57.bin"/><Relationship Id="rId4" Type="http://schemas.openxmlformats.org/officeDocument/2006/relationships/tags" Target="../tags/tag197.xml"/><Relationship Id="rId9" Type="http://schemas.openxmlformats.org/officeDocument/2006/relationships/image" Target="../media/image2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7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8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7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8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9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1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1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6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8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9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0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8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3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6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9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6.bin"/><Relationship Id="rId3" Type="http://schemas.openxmlformats.org/officeDocument/2006/relationships/tags" Target="../tags/tag26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70.vml"/><Relationship Id="rId6" Type="http://schemas.openxmlformats.org/officeDocument/2006/relationships/tags" Target="../tags/tag272.xml"/><Relationship Id="rId5" Type="http://schemas.openxmlformats.org/officeDocument/2006/relationships/tags" Target="../tags/tag271.xml"/><Relationship Id="rId4" Type="http://schemas.openxmlformats.org/officeDocument/2006/relationships/tags" Target="../tags/tag270.xml"/><Relationship Id="rId9" Type="http://schemas.openxmlformats.org/officeDocument/2006/relationships/image" Target="../media/image2.emf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4.xml"/><Relationship Id="rId7" Type="http://schemas.openxmlformats.org/officeDocument/2006/relationships/oleObject" Target="../embeddings/oleObject77.bin"/><Relationship Id="rId2" Type="http://schemas.openxmlformats.org/officeDocument/2006/relationships/tags" Target="../tags/tag273.xml"/><Relationship Id="rId1" Type="http://schemas.openxmlformats.org/officeDocument/2006/relationships/vmlDrawing" Target="../drawings/vmlDrawing71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76.xml"/><Relationship Id="rId4" Type="http://schemas.openxmlformats.org/officeDocument/2006/relationships/tags" Target="../tags/tag275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8.xml"/><Relationship Id="rId7" Type="http://schemas.openxmlformats.org/officeDocument/2006/relationships/oleObject" Target="../embeddings/oleObject78.bin"/><Relationship Id="rId2" Type="http://schemas.openxmlformats.org/officeDocument/2006/relationships/tags" Target="../tags/tag277.xml"/><Relationship Id="rId1" Type="http://schemas.openxmlformats.org/officeDocument/2006/relationships/vmlDrawing" Target="../drawings/vmlDrawing72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80.xml"/><Relationship Id="rId4" Type="http://schemas.openxmlformats.org/officeDocument/2006/relationships/tags" Target="../tags/tag279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7" Type="http://schemas.openxmlformats.org/officeDocument/2006/relationships/image" Target="../media/image7.png"/><Relationship Id="rId2" Type="http://schemas.openxmlformats.org/officeDocument/2006/relationships/tags" Target="../tags/tag281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74.vml"/><Relationship Id="rId6" Type="http://schemas.openxmlformats.org/officeDocument/2006/relationships/tags" Target="../tags/tag287.xml"/><Relationship Id="rId11" Type="http://schemas.openxmlformats.org/officeDocument/2006/relationships/oleObject" Target="../embeddings/oleObject81.bin"/><Relationship Id="rId5" Type="http://schemas.openxmlformats.org/officeDocument/2006/relationships/tags" Target="../tags/tag286.xml"/><Relationship Id="rId10" Type="http://schemas.openxmlformats.org/officeDocument/2006/relationships/image" Target="../media/image2.emf"/><Relationship Id="rId4" Type="http://schemas.openxmlformats.org/officeDocument/2006/relationships/tags" Target="../tags/tag285.xml"/><Relationship Id="rId9" Type="http://schemas.openxmlformats.org/officeDocument/2006/relationships/oleObject" Target="../embeddings/oleObject80.bin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2.bin"/><Relationship Id="rId3" Type="http://schemas.openxmlformats.org/officeDocument/2006/relationships/tags" Target="../tags/tag290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75.vml"/><Relationship Id="rId6" Type="http://schemas.openxmlformats.org/officeDocument/2006/relationships/tags" Target="../tags/tag293.xml"/><Relationship Id="rId5" Type="http://schemas.openxmlformats.org/officeDocument/2006/relationships/tags" Target="../tags/tag292.xml"/><Relationship Id="rId10" Type="http://schemas.openxmlformats.org/officeDocument/2006/relationships/oleObject" Target="../embeddings/oleObject83.bin"/><Relationship Id="rId4" Type="http://schemas.openxmlformats.org/officeDocument/2006/relationships/tags" Target="../tags/tag291.xml"/><Relationship Id="rId9" Type="http://schemas.openxmlformats.org/officeDocument/2006/relationships/image" Target="../media/image2.emf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4.bin"/><Relationship Id="rId3" Type="http://schemas.openxmlformats.org/officeDocument/2006/relationships/tags" Target="../tags/tag295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76.vml"/><Relationship Id="rId6" Type="http://schemas.openxmlformats.org/officeDocument/2006/relationships/tags" Target="../tags/tag298.xml"/><Relationship Id="rId5" Type="http://schemas.openxmlformats.org/officeDocument/2006/relationships/tags" Target="../tags/tag297.xml"/><Relationship Id="rId10" Type="http://schemas.openxmlformats.org/officeDocument/2006/relationships/oleObject" Target="../embeddings/oleObject85.bin"/><Relationship Id="rId4" Type="http://schemas.openxmlformats.org/officeDocument/2006/relationships/tags" Target="../tags/tag296.xml"/><Relationship Id="rId9" Type="http://schemas.openxmlformats.org/officeDocument/2006/relationships/image" Target="../media/image2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7.png"/><Relationship Id="rId2" Type="http://schemas.openxmlformats.org/officeDocument/2006/relationships/tags" Target="../tags/tag29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7" Type="http://schemas.openxmlformats.org/officeDocument/2006/relationships/image" Target="../media/image8.png"/><Relationship Id="rId2" Type="http://schemas.openxmlformats.org/officeDocument/2006/relationships/tags" Target="../tags/tag301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0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1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2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6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7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9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0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8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338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0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1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2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4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5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6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7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9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7" Type="http://schemas.openxmlformats.org/officeDocument/2006/relationships/image" Target="../media/image8.png"/><Relationship Id="rId2" Type="http://schemas.openxmlformats.org/officeDocument/2006/relationships/tags" Target="../tags/tag35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3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4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5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0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362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tags" Target="../tags/tag364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4.bin"/><Relationship Id="rId3" Type="http://schemas.openxmlformats.org/officeDocument/2006/relationships/tags" Target="../tags/tag36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95.vml"/><Relationship Id="rId6" Type="http://schemas.openxmlformats.org/officeDocument/2006/relationships/tags" Target="../tags/tag371.xml"/><Relationship Id="rId5" Type="http://schemas.openxmlformats.org/officeDocument/2006/relationships/tags" Target="../tags/tag370.xml"/><Relationship Id="rId4" Type="http://schemas.openxmlformats.org/officeDocument/2006/relationships/tags" Target="../tags/tag369.xml"/><Relationship Id="rId9" Type="http://schemas.openxmlformats.org/officeDocument/2006/relationships/image" Target="../media/image2.emf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3.xml"/><Relationship Id="rId7" Type="http://schemas.openxmlformats.org/officeDocument/2006/relationships/oleObject" Target="../embeddings/oleObject105.bin"/><Relationship Id="rId2" Type="http://schemas.openxmlformats.org/officeDocument/2006/relationships/tags" Target="../tags/tag372.xml"/><Relationship Id="rId1" Type="http://schemas.openxmlformats.org/officeDocument/2006/relationships/vmlDrawing" Target="../drawings/vmlDrawing96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75.xml"/><Relationship Id="rId4" Type="http://schemas.openxmlformats.org/officeDocument/2006/relationships/tags" Target="../tags/tag374.xml"/></Relationships>
</file>

<file path=ppt/slideLayouts/_rels/slideLayout2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7.xml"/><Relationship Id="rId7" Type="http://schemas.openxmlformats.org/officeDocument/2006/relationships/oleObject" Target="../embeddings/oleObject106.bin"/><Relationship Id="rId2" Type="http://schemas.openxmlformats.org/officeDocument/2006/relationships/tags" Target="../tags/tag376.xml"/><Relationship Id="rId1" Type="http://schemas.openxmlformats.org/officeDocument/2006/relationships/vmlDrawing" Target="../drawings/vmlDrawing97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79.xml"/><Relationship Id="rId4" Type="http://schemas.openxmlformats.org/officeDocument/2006/relationships/tags" Target="../tags/tag378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tags" Target="../tags/tag381.xml"/><Relationship Id="rId7" Type="http://schemas.openxmlformats.org/officeDocument/2006/relationships/image" Target="../media/image7.png"/><Relationship Id="rId2" Type="http://schemas.openxmlformats.org/officeDocument/2006/relationships/tags" Target="../tags/tag380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383.xml"/><Relationship Id="rId7" Type="http://schemas.openxmlformats.org/officeDocument/2006/relationships/tags" Target="../tags/tag387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99.vml"/><Relationship Id="rId6" Type="http://schemas.openxmlformats.org/officeDocument/2006/relationships/tags" Target="../tags/tag386.xml"/><Relationship Id="rId11" Type="http://schemas.openxmlformats.org/officeDocument/2006/relationships/oleObject" Target="../embeddings/oleObject109.bin"/><Relationship Id="rId5" Type="http://schemas.openxmlformats.org/officeDocument/2006/relationships/tags" Target="../tags/tag385.xml"/><Relationship Id="rId10" Type="http://schemas.openxmlformats.org/officeDocument/2006/relationships/image" Target="../media/image2.emf"/><Relationship Id="rId4" Type="http://schemas.openxmlformats.org/officeDocument/2006/relationships/tags" Target="../tags/tag384.xml"/><Relationship Id="rId9" Type="http://schemas.openxmlformats.org/officeDocument/2006/relationships/oleObject" Target="../embeddings/oleObject10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2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0.bin"/><Relationship Id="rId3" Type="http://schemas.openxmlformats.org/officeDocument/2006/relationships/tags" Target="../tags/tag389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88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392.xml"/><Relationship Id="rId5" Type="http://schemas.openxmlformats.org/officeDocument/2006/relationships/tags" Target="../tags/tag391.xml"/><Relationship Id="rId10" Type="http://schemas.openxmlformats.org/officeDocument/2006/relationships/oleObject" Target="../embeddings/oleObject111.bin"/><Relationship Id="rId4" Type="http://schemas.openxmlformats.org/officeDocument/2006/relationships/tags" Target="../tags/tag390.xml"/><Relationship Id="rId9" Type="http://schemas.openxmlformats.org/officeDocument/2006/relationships/image" Target="../media/image2.emf"/></Relationships>
</file>

<file path=ppt/slideLayouts/_rels/slideLayout2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2.bin"/><Relationship Id="rId3" Type="http://schemas.openxmlformats.org/officeDocument/2006/relationships/tags" Target="../tags/tag39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101.vml"/><Relationship Id="rId6" Type="http://schemas.openxmlformats.org/officeDocument/2006/relationships/tags" Target="../tags/tag397.xml"/><Relationship Id="rId5" Type="http://schemas.openxmlformats.org/officeDocument/2006/relationships/tags" Target="../tags/tag396.xml"/><Relationship Id="rId10" Type="http://schemas.openxmlformats.org/officeDocument/2006/relationships/oleObject" Target="../embeddings/oleObject113.bin"/><Relationship Id="rId4" Type="http://schemas.openxmlformats.org/officeDocument/2006/relationships/tags" Target="../tags/tag395.xml"/><Relationship Id="rId9" Type="http://schemas.openxmlformats.org/officeDocument/2006/relationships/image" Target="../media/image2.emf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7" Type="http://schemas.openxmlformats.org/officeDocument/2006/relationships/image" Target="../media/image7.png"/><Relationship Id="rId2" Type="http://schemas.openxmlformats.org/officeDocument/2006/relationships/tags" Target="../tags/tag39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401.xml"/><Relationship Id="rId7" Type="http://schemas.openxmlformats.org/officeDocument/2006/relationships/image" Target="../media/image8.png"/><Relationship Id="rId2" Type="http://schemas.openxmlformats.org/officeDocument/2006/relationships/tags" Target="../tags/tag400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6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405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407.xml"/><Relationship Id="rId2" Type="http://schemas.openxmlformats.org/officeDocument/2006/relationships/tags" Target="../tags/tag406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9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0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1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2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3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4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5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7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9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0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2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tags" Target="../tags/tag424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6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5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2" Type="http://schemas.openxmlformats.org/officeDocument/2006/relationships/tags" Target="../tags/tag426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6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430.xml"/><Relationship Id="rId2" Type="http://schemas.openxmlformats.org/officeDocument/2006/relationships/tags" Target="../tags/tag429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tags" Target="../tags/tag432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6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434.xml"/><Relationship Id="rId2" Type="http://schemas.openxmlformats.org/officeDocument/2006/relationships/tags" Target="../tags/tag43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6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436.xml"/><Relationship Id="rId2" Type="http://schemas.openxmlformats.org/officeDocument/2006/relationships/tags" Target="../tags/tag435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6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438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6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9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7.bin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0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1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3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4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5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6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7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8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9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tags" Target="../tags/tag451.xml"/><Relationship Id="rId7" Type="http://schemas.openxmlformats.org/officeDocument/2006/relationships/image" Target="../media/image8.png"/><Relationship Id="rId2" Type="http://schemas.openxmlformats.org/officeDocument/2006/relationships/tags" Target="../tags/tag450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6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2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4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5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2" Type="http://schemas.openxmlformats.org/officeDocument/2006/relationships/tags" Target="../tags/tag456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8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9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60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tags" Target="../tags/tag462.xml"/><Relationship Id="rId2" Type="http://schemas.openxmlformats.org/officeDocument/2006/relationships/tags" Target="../tags/tag461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tags" Target="../tags/tag466.xml"/><Relationship Id="rId2" Type="http://schemas.openxmlformats.org/officeDocument/2006/relationships/tags" Target="../tags/tag465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3.bin"/><Relationship Id="rId3" Type="http://schemas.openxmlformats.org/officeDocument/2006/relationships/tags" Target="../tags/tag468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467.xml"/><Relationship Id="rId1" Type="http://schemas.openxmlformats.org/officeDocument/2006/relationships/vmlDrawing" Target="../drawings/vmlDrawing121.vml"/><Relationship Id="rId6" Type="http://schemas.openxmlformats.org/officeDocument/2006/relationships/tags" Target="../tags/tag471.xml"/><Relationship Id="rId5" Type="http://schemas.openxmlformats.org/officeDocument/2006/relationships/tags" Target="../tags/tag470.xml"/><Relationship Id="rId4" Type="http://schemas.openxmlformats.org/officeDocument/2006/relationships/tags" Target="../tags/tag469.xml"/><Relationship Id="rId9" Type="http://schemas.openxmlformats.org/officeDocument/2006/relationships/image" Target="../media/image2.emf"/></Relationships>
</file>

<file path=ppt/slideLayouts/_rels/slideLayout3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73.xml"/><Relationship Id="rId7" Type="http://schemas.openxmlformats.org/officeDocument/2006/relationships/oleObject" Target="../embeddings/oleObject134.bin"/><Relationship Id="rId2" Type="http://schemas.openxmlformats.org/officeDocument/2006/relationships/tags" Target="../tags/tag472.xml"/><Relationship Id="rId1" Type="http://schemas.openxmlformats.org/officeDocument/2006/relationships/vmlDrawing" Target="../drawings/vmlDrawing122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475.xml"/><Relationship Id="rId4" Type="http://schemas.openxmlformats.org/officeDocument/2006/relationships/tags" Target="../tags/tag474.xml"/></Relationships>
</file>

<file path=ppt/slideLayouts/_rels/slideLayout3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77.xml"/><Relationship Id="rId7" Type="http://schemas.openxmlformats.org/officeDocument/2006/relationships/oleObject" Target="../embeddings/oleObject135.bin"/><Relationship Id="rId2" Type="http://schemas.openxmlformats.org/officeDocument/2006/relationships/tags" Target="../tags/tag476.xml"/><Relationship Id="rId1" Type="http://schemas.openxmlformats.org/officeDocument/2006/relationships/vmlDrawing" Target="../drawings/vmlDrawing123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479.xml"/><Relationship Id="rId4" Type="http://schemas.openxmlformats.org/officeDocument/2006/relationships/tags" Target="../tags/tag478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tags" Target="../tags/tag481.xml"/><Relationship Id="rId7" Type="http://schemas.openxmlformats.org/officeDocument/2006/relationships/image" Target="../media/image7.png"/><Relationship Id="rId2" Type="http://schemas.openxmlformats.org/officeDocument/2006/relationships/tags" Target="../tags/tag480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483.xml"/><Relationship Id="rId7" Type="http://schemas.openxmlformats.org/officeDocument/2006/relationships/tags" Target="../tags/tag487.xml"/><Relationship Id="rId2" Type="http://schemas.openxmlformats.org/officeDocument/2006/relationships/tags" Target="../tags/tag482.xml"/><Relationship Id="rId1" Type="http://schemas.openxmlformats.org/officeDocument/2006/relationships/vmlDrawing" Target="../drawings/vmlDrawing125.vml"/><Relationship Id="rId6" Type="http://schemas.openxmlformats.org/officeDocument/2006/relationships/tags" Target="../tags/tag486.xml"/><Relationship Id="rId11" Type="http://schemas.openxmlformats.org/officeDocument/2006/relationships/oleObject" Target="../embeddings/oleObject138.bin"/><Relationship Id="rId5" Type="http://schemas.openxmlformats.org/officeDocument/2006/relationships/tags" Target="../tags/tag485.xml"/><Relationship Id="rId10" Type="http://schemas.openxmlformats.org/officeDocument/2006/relationships/image" Target="../media/image2.emf"/><Relationship Id="rId4" Type="http://schemas.openxmlformats.org/officeDocument/2006/relationships/tags" Target="../tags/tag484.xml"/><Relationship Id="rId9" Type="http://schemas.openxmlformats.org/officeDocument/2006/relationships/oleObject" Target="../embeddings/oleObject137.bin"/></Relationships>
</file>

<file path=ppt/slideLayouts/_rels/slideLayout3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9.bin"/><Relationship Id="rId3" Type="http://schemas.openxmlformats.org/officeDocument/2006/relationships/tags" Target="../tags/tag489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488.xml"/><Relationship Id="rId1" Type="http://schemas.openxmlformats.org/officeDocument/2006/relationships/vmlDrawing" Target="../drawings/vmlDrawing126.vml"/><Relationship Id="rId6" Type="http://schemas.openxmlformats.org/officeDocument/2006/relationships/tags" Target="../tags/tag492.xml"/><Relationship Id="rId5" Type="http://schemas.openxmlformats.org/officeDocument/2006/relationships/tags" Target="../tags/tag491.xml"/><Relationship Id="rId10" Type="http://schemas.openxmlformats.org/officeDocument/2006/relationships/oleObject" Target="../embeddings/oleObject140.bin"/><Relationship Id="rId4" Type="http://schemas.openxmlformats.org/officeDocument/2006/relationships/tags" Target="../tags/tag490.xml"/><Relationship Id="rId9" Type="http://schemas.openxmlformats.org/officeDocument/2006/relationships/image" Target="../media/image2.emf"/></Relationships>
</file>

<file path=ppt/slideLayouts/_rels/slideLayout3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1.bin"/><Relationship Id="rId3" Type="http://schemas.openxmlformats.org/officeDocument/2006/relationships/tags" Target="../tags/tag494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493.xml"/><Relationship Id="rId1" Type="http://schemas.openxmlformats.org/officeDocument/2006/relationships/vmlDrawing" Target="../drawings/vmlDrawing127.vml"/><Relationship Id="rId6" Type="http://schemas.openxmlformats.org/officeDocument/2006/relationships/tags" Target="../tags/tag497.xml"/><Relationship Id="rId5" Type="http://schemas.openxmlformats.org/officeDocument/2006/relationships/tags" Target="../tags/tag496.xml"/><Relationship Id="rId10" Type="http://schemas.openxmlformats.org/officeDocument/2006/relationships/oleObject" Target="../embeddings/oleObject142.bin"/><Relationship Id="rId4" Type="http://schemas.openxmlformats.org/officeDocument/2006/relationships/tags" Target="../tags/tag495.xml"/><Relationship Id="rId9" Type="http://schemas.openxmlformats.org/officeDocument/2006/relationships/image" Target="../media/image2.emf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tags" Target="../tags/tag499.xml"/><Relationship Id="rId7" Type="http://schemas.openxmlformats.org/officeDocument/2006/relationships/image" Target="../media/image7.png"/><Relationship Id="rId2" Type="http://schemas.openxmlformats.org/officeDocument/2006/relationships/tags" Target="../tags/tag49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tags" Target="../tags/tag501.xml"/><Relationship Id="rId7" Type="http://schemas.openxmlformats.org/officeDocument/2006/relationships/image" Target="../media/image8.png"/><Relationship Id="rId2" Type="http://schemas.openxmlformats.org/officeDocument/2006/relationships/tags" Target="../tags/tag500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2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5.bin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8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8.v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image" Target="../media/image2.emf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4.xml"/><Relationship Id="rId7" Type="http://schemas.openxmlformats.org/officeDocument/2006/relationships/oleObject" Target="../embeddings/oleObject19.bin"/><Relationship Id="rId2" Type="http://schemas.openxmlformats.org/officeDocument/2006/relationships/tags" Target="../tags/tag73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8.xml"/><Relationship Id="rId7" Type="http://schemas.openxmlformats.org/officeDocument/2006/relationships/oleObject" Target="../embeddings/oleObject20.bin"/><Relationship Id="rId2" Type="http://schemas.openxmlformats.org/officeDocument/2006/relationships/tags" Target="../tags/tag77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7.png"/><Relationship Id="rId2" Type="http://schemas.openxmlformats.org/officeDocument/2006/relationships/tags" Target="../tags/tag8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87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86.xml"/><Relationship Id="rId10" Type="http://schemas.openxmlformats.org/officeDocument/2006/relationships/image" Target="../media/image2.emf"/><Relationship Id="rId4" Type="http://schemas.openxmlformats.org/officeDocument/2006/relationships/tags" Target="../tags/tag85.xml"/><Relationship Id="rId9" Type="http://schemas.openxmlformats.org/officeDocument/2006/relationships/oleObject" Target="../embeddings/oleObject22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9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3.v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91.xml"/><Relationship Id="rId9" Type="http://schemas.openxmlformats.org/officeDocument/2006/relationships/image" Target="../media/image2.emf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9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24.v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96.xml"/><Relationship Id="rId9" Type="http://schemas.openxmlformats.org/officeDocument/2006/relationships/image" Target="../media/image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7.png"/><Relationship Id="rId2" Type="http://schemas.openxmlformats.org/officeDocument/2006/relationships/tags" Target="../tags/tag9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8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0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5D6F975A-029D-42D9-B7F0-B462861F36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311E40-3A60-4D63-843D-2B8752EFD040}" type="datetime1">
              <a:rPr lang="en-US" smtClean="0"/>
              <a:t>5/22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F137FF5-A534-41EA-B764-ED64DAD76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DB01107-7C8E-4AAD-8725-609F9999B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63A51-EE23-4C00-B2B1-7BDFF9B35B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0385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428A0D0-B15C-4271-BC04-C50C9A498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6216C-21AC-4422-819F-B3F078BDC82A}" type="datetime1">
              <a:rPr lang="en-US" smtClean="0"/>
              <a:t>5/22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DA4347A8-B0EF-446C-88F6-051E82389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55E76A25-EB8C-4423-A4B5-0E4BCD7AC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615962-85C8-4718-AED9-29E928FB39E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254632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3F2FD133-F2E6-40A3-9E65-BE4D04D85F61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0F263F4-5533-436D-84DD-B1250BEF9FF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B1359446-CB50-48CA-ADD3-64A5BB99BA8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="" xmlns:a16="http://schemas.microsoft.com/office/drawing/2014/main" id="{68D6E372-8F37-4023-B1C5-DEEEFDC161E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AFFF3E3-AD4F-4195-A1EF-9BB7308595C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472788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F1600525-CAE1-448B-AAA0-3581C043F4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3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F1600525-CAE1-448B-AAA0-3581C043F49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4CFFF748-83AE-4DAC-B23E-70A8C7F8E43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AA63C35-CCA5-45CC-ACB4-A85389943AD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E626C14B-9410-4C73-9DC3-36F36699506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6A07E244-D504-4A44-B7B7-66B43441A1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19DD50F-E19E-493A-ACC0-193C00E5EBBA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125682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="" xmlns:a16="http://schemas.microsoft.com/office/drawing/2014/main" id="{6B53E1A3-8AE2-45BC-B17C-6EA97826AF5B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C0069EC-200F-40E0-854B-1A7E2C904BF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="" xmlns:a16="http://schemas.microsoft.com/office/drawing/2014/main" id="{E76079BB-5CC1-4B08-AAFD-E05B06B92D0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1">
            <a:extLst>
              <a:ext uri="{FF2B5EF4-FFF2-40B4-BE49-F238E27FC236}">
                <a16:creationId xmlns="" xmlns:a16="http://schemas.microsoft.com/office/drawing/2014/main" id="{448B900E-4D67-4E4A-9DAE-C662F09A4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284F901-C414-4E52-91DF-4BC0EE6FE75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444489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5EFE61B2-506E-41F3-BE0B-7A3E4C8ADB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8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5EFE61B2-506E-41F3-BE0B-7A3E4C8ADB0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777032E6-C031-4DBD-A529-6C4D275702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DEC6C61-D5D5-47D3-BD9D-EA272576175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056F7A3F-2247-4790-A502-1166A4C2C9A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18318231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1149842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0A850543-482F-4FA2-82FD-9975D87B66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2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0A850543-482F-4FA2-82FD-9975D87B660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AC8FC4AB-E079-411C-B1DF-CFA83A6A8BF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B30D976-8D29-40F8-B477-B115B8A28A5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="" xmlns:a16="http://schemas.microsoft.com/office/drawing/2014/main" id="{F443E5E1-1588-4970-B8B0-AFFF510E9D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52769" y="3921919"/>
            <a:ext cx="5133975" cy="96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D96DBC24-2836-401F-826B-CF2F37259EA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grpSp>
        <p:nvGrpSpPr>
          <p:cNvPr id="6" name="A4Grid">
            <a:extLst>
              <a:ext uri="{FF2B5EF4-FFF2-40B4-BE49-F238E27FC236}">
                <a16:creationId xmlns="" xmlns:a16="http://schemas.microsoft.com/office/drawing/2014/main" id="{C2B12950-CADF-4316-947E-7336B66118B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>
              <a:extLst>
                <a:ext uri="{FF2B5EF4-FFF2-40B4-BE49-F238E27FC236}">
                  <a16:creationId xmlns="" xmlns:a16="http://schemas.microsoft.com/office/drawing/2014/main" id="{26895702-A345-4402-964C-12410B3B372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No-fly zone">
              <a:extLst>
                <a:ext uri="{FF2B5EF4-FFF2-40B4-BE49-F238E27FC236}">
                  <a16:creationId xmlns="" xmlns:a16="http://schemas.microsoft.com/office/drawing/2014/main" id="{416B00E4-CF40-4704-95A1-5D36E77507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="" xmlns:a16="http://schemas.microsoft.com/office/drawing/2014/main" id="{430A4C44-E532-4B27-841E-F1ACFE150A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="" xmlns:a16="http://schemas.microsoft.com/office/drawing/2014/main" id="{81A52FC5-A8ED-485E-82C3-FB33D90E3B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11" name="Gutter space">
              <a:extLst>
                <a:ext uri="{FF2B5EF4-FFF2-40B4-BE49-F238E27FC236}">
                  <a16:creationId xmlns="" xmlns:a16="http://schemas.microsoft.com/office/drawing/2014/main" id="{896553A7-FBCA-40B4-9F7A-FBDC64836F30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>
                <a:extLst>
                  <a:ext uri="{FF2B5EF4-FFF2-40B4-BE49-F238E27FC236}">
                    <a16:creationId xmlns="" xmlns:a16="http://schemas.microsoft.com/office/drawing/2014/main" id="{7CF13B1E-968C-4FE4-A50F-55C3F219E3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10">
                <a:extLst>
                  <a:ext uri="{FF2B5EF4-FFF2-40B4-BE49-F238E27FC236}">
                    <a16:creationId xmlns="" xmlns:a16="http://schemas.microsoft.com/office/drawing/2014/main" id="{C626A1F0-61C8-48E7-B0EC-050CCBCDA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9">
                <a:extLst>
                  <a:ext uri="{FF2B5EF4-FFF2-40B4-BE49-F238E27FC236}">
                    <a16:creationId xmlns="" xmlns:a16="http://schemas.microsoft.com/office/drawing/2014/main" id="{A5F92967-E1D9-4083-8425-5AE821A1C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8">
                <a:extLst>
                  <a:ext uri="{FF2B5EF4-FFF2-40B4-BE49-F238E27FC236}">
                    <a16:creationId xmlns="" xmlns:a16="http://schemas.microsoft.com/office/drawing/2014/main" id="{59A1309D-7F37-4D38-BC94-00B79721E4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7">
                <a:extLst>
                  <a:ext uri="{FF2B5EF4-FFF2-40B4-BE49-F238E27FC236}">
                    <a16:creationId xmlns="" xmlns:a16="http://schemas.microsoft.com/office/drawing/2014/main" id="{B0975B19-E2BE-4D7A-A081-4A8A877E4C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6">
                <a:extLst>
                  <a:ext uri="{FF2B5EF4-FFF2-40B4-BE49-F238E27FC236}">
                    <a16:creationId xmlns="" xmlns:a16="http://schemas.microsoft.com/office/drawing/2014/main" id="{0E43667E-5C64-420C-A441-B515840D15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5">
                <a:extLst>
                  <a:ext uri="{FF2B5EF4-FFF2-40B4-BE49-F238E27FC236}">
                    <a16:creationId xmlns="" xmlns:a16="http://schemas.microsoft.com/office/drawing/2014/main" id="{7C252E69-0643-4EA7-B07E-B173EF9DF9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4">
                <a:extLst>
                  <a:ext uri="{FF2B5EF4-FFF2-40B4-BE49-F238E27FC236}">
                    <a16:creationId xmlns="" xmlns:a16="http://schemas.microsoft.com/office/drawing/2014/main" id="{E2B14E1B-B9F1-42CE-A5BC-6400A64912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3">
                <a:extLst>
                  <a:ext uri="{FF2B5EF4-FFF2-40B4-BE49-F238E27FC236}">
                    <a16:creationId xmlns="" xmlns:a16="http://schemas.microsoft.com/office/drawing/2014/main" id="{D6E707D1-5F16-4220-842C-806F5F1BB9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0" name="Gutter 2">
                <a:extLst>
                  <a:ext uri="{FF2B5EF4-FFF2-40B4-BE49-F238E27FC236}">
                    <a16:creationId xmlns="" xmlns:a16="http://schemas.microsoft.com/office/drawing/2014/main" id="{B004BAA7-9DEE-4454-8E44-5CCD1A861A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1" name="Gutter 1">
                <a:extLst>
                  <a:ext uri="{FF2B5EF4-FFF2-40B4-BE49-F238E27FC236}">
                    <a16:creationId xmlns="" xmlns:a16="http://schemas.microsoft.com/office/drawing/2014/main" id="{E79096D0-06EA-4008-BF36-F723C349F1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2" name="Baselines/Anchors">
              <a:extLst>
                <a:ext uri="{FF2B5EF4-FFF2-40B4-BE49-F238E27FC236}">
                  <a16:creationId xmlns="" xmlns:a16="http://schemas.microsoft.com/office/drawing/2014/main" id="{394ACEAB-2BBA-4D7F-BA37-75B77294ABCC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>
                <a:extLst>
                  <a:ext uri="{FF2B5EF4-FFF2-40B4-BE49-F238E27FC236}">
                    <a16:creationId xmlns="" xmlns:a16="http://schemas.microsoft.com/office/drawing/2014/main" id="{197AD882-CFB7-4B3F-83C3-8E40A1F5819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9">
                <a:extLst>
                  <a:ext uri="{FF2B5EF4-FFF2-40B4-BE49-F238E27FC236}">
                    <a16:creationId xmlns="" xmlns:a16="http://schemas.microsoft.com/office/drawing/2014/main" id="{53A92281-B614-49D8-BFE4-9FD30FF900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8">
                <a:extLst>
                  <a:ext uri="{FF2B5EF4-FFF2-40B4-BE49-F238E27FC236}">
                    <a16:creationId xmlns="" xmlns:a16="http://schemas.microsoft.com/office/drawing/2014/main" id="{F2CC2A5A-80F1-4B39-A1F9-80C495EA5A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7">
                <a:extLst>
                  <a:ext uri="{FF2B5EF4-FFF2-40B4-BE49-F238E27FC236}">
                    <a16:creationId xmlns="" xmlns:a16="http://schemas.microsoft.com/office/drawing/2014/main" id="{394A0BBA-15F4-436D-B90A-648DC07CE3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6">
                <a:extLst>
                  <a:ext uri="{FF2B5EF4-FFF2-40B4-BE49-F238E27FC236}">
                    <a16:creationId xmlns="" xmlns:a16="http://schemas.microsoft.com/office/drawing/2014/main" id="{EA403D1F-82C1-4086-9A42-4BDCEFF150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5">
                <a:extLst>
                  <a:ext uri="{FF2B5EF4-FFF2-40B4-BE49-F238E27FC236}">
                    <a16:creationId xmlns="" xmlns:a16="http://schemas.microsoft.com/office/drawing/2014/main" id="{1EC3C1FB-0D70-4EC3-99D9-7348C7CC17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4">
                <a:extLst>
                  <a:ext uri="{FF2B5EF4-FFF2-40B4-BE49-F238E27FC236}">
                    <a16:creationId xmlns="" xmlns:a16="http://schemas.microsoft.com/office/drawing/2014/main" id="{468B75B1-D421-4682-9E1E-2D48DC0EDD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3">
                <a:extLst>
                  <a:ext uri="{FF2B5EF4-FFF2-40B4-BE49-F238E27FC236}">
                    <a16:creationId xmlns="" xmlns:a16="http://schemas.microsoft.com/office/drawing/2014/main" id="{D7B511F7-0FF7-4114-9B4A-501BA8E639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2">
                <a:extLst>
                  <a:ext uri="{FF2B5EF4-FFF2-40B4-BE49-F238E27FC236}">
                    <a16:creationId xmlns="" xmlns:a16="http://schemas.microsoft.com/office/drawing/2014/main" id="{B1F17D7D-0810-4341-8C57-7A37D54997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="" xmlns:a16="http://schemas.microsoft.com/office/drawing/2014/main" id="{8B1341C4-B7F1-4ADD-827D-5C790DDFCF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="" xmlns:a16="http://schemas.microsoft.com/office/drawing/2014/main" id="{8965B5FE-56AD-4D21-B00B-999674D817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9">
                <a:extLst>
                  <a:ext uri="{FF2B5EF4-FFF2-40B4-BE49-F238E27FC236}">
                    <a16:creationId xmlns="" xmlns:a16="http://schemas.microsoft.com/office/drawing/2014/main" id="{E4351AE4-85DC-4406-84EB-21EF162B7C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8">
                <a:extLst>
                  <a:ext uri="{FF2B5EF4-FFF2-40B4-BE49-F238E27FC236}">
                    <a16:creationId xmlns="" xmlns:a16="http://schemas.microsoft.com/office/drawing/2014/main" id="{34584FED-70AF-404C-8CB9-E6C69A9780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7">
                <a:extLst>
                  <a:ext uri="{FF2B5EF4-FFF2-40B4-BE49-F238E27FC236}">
                    <a16:creationId xmlns="" xmlns:a16="http://schemas.microsoft.com/office/drawing/2014/main" id="{0CCF674F-7164-4BF0-AD77-615B44007F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6">
                <a:extLst>
                  <a:ext uri="{FF2B5EF4-FFF2-40B4-BE49-F238E27FC236}">
                    <a16:creationId xmlns="" xmlns:a16="http://schemas.microsoft.com/office/drawing/2014/main" id="{9E476945-7EA6-4152-BECE-1D59BA10F5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5">
                <a:extLst>
                  <a:ext uri="{FF2B5EF4-FFF2-40B4-BE49-F238E27FC236}">
                    <a16:creationId xmlns="" xmlns:a16="http://schemas.microsoft.com/office/drawing/2014/main" id="{1224ADDC-2745-4722-AFE3-51E9EA205EE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4">
                <a:extLst>
                  <a:ext uri="{FF2B5EF4-FFF2-40B4-BE49-F238E27FC236}">
                    <a16:creationId xmlns="" xmlns:a16="http://schemas.microsoft.com/office/drawing/2014/main" id="{808533A1-D259-48F2-9184-14279ECED1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3">
                <a:extLst>
                  <a:ext uri="{FF2B5EF4-FFF2-40B4-BE49-F238E27FC236}">
                    <a16:creationId xmlns="" xmlns:a16="http://schemas.microsoft.com/office/drawing/2014/main" id="{A11A0765-0AA7-4F4F-80A9-D479BDFF27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" name="Line 2">
                <a:extLst>
                  <a:ext uri="{FF2B5EF4-FFF2-40B4-BE49-F238E27FC236}">
                    <a16:creationId xmlns="" xmlns:a16="http://schemas.microsoft.com/office/drawing/2014/main" id="{84939347-6B8E-4F54-90E3-8274687380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" name="Line 1">
                <a:extLst>
                  <a:ext uri="{FF2B5EF4-FFF2-40B4-BE49-F238E27FC236}">
                    <a16:creationId xmlns="" xmlns:a16="http://schemas.microsoft.com/office/drawing/2014/main" id="{D60A1AF2-1F6E-47FD-BBF7-8872F99A71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Five column measure">
              <a:extLst>
                <a:ext uri="{FF2B5EF4-FFF2-40B4-BE49-F238E27FC236}">
                  <a16:creationId xmlns="" xmlns:a16="http://schemas.microsoft.com/office/drawing/2014/main" id="{2454FA16-A800-4822-80CE-7677D170289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>
                <a:extLst>
                  <a:ext uri="{FF2B5EF4-FFF2-40B4-BE49-F238E27FC236}">
                    <a16:creationId xmlns="" xmlns:a16="http://schemas.microsoft.com/office/drawing/2014/main" id="{9373B876-3570-4965-BC32-4E7D9C0DC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4">
                <a:extLst>
                  <a:ext uri="{FF2B5EF4-FFF2-40B4-BE49-F238E27FC236}">
                    <a16:creationId xmlns="" xmlns:a16="http://schemas.microsoft.com/office/drawing/2014/main" id="{ECF8F25F-5F7B-4EB3-B129-9126E5A7A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3">
                <a:extLst>
                  <a:ext uri="{FF2B5EF4-FFF2-40B4-BE49-F238E27FC236}">
                    <a16:creationId xmlns="" xmlns:a16="http://schemas.microsoft.com/office/drawing/2014/main" id="{DCBB9E5F-239C-4A4C-A90D-B54C9CF89F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9" name="Column 2">
                <a:extLst>
                  <a:ext uri="{FF2B5EF4-FFF2-40B4-BE49-F238E27FC236}">
                    <a16:creationId xmlns="" xmlns:a16="http://schemas.microsoft.com/office/drawing/2014/main" id="{9BFE2ADE-831D-4083-91DC-7206CFA2A7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20" name="Column 1">
                <a:extLst>
                  <a:ext uri="{FF2B5EF4-FFF2-40B4-BE49-F238E27FC236}">
                    <a16:creationId xmlns="" xmlns:a16="http://schemas.microsoft.com/office/drawing/2014/main" id="{DD86F3F4-93B0-4C5F-911D-8F29D5D51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4" name="Live space">
              <a:extLst>
                <a:ext uri="{FF2B5EF4-FFF2-40B4-BE49-F238E27FC236}">
                  <a16:creationId xmlns="" xmlns:a16="http://schemas.microsoft.com/office/drawing/2014/main" id="{BEA107AA-1070-4C2E-B278-0046E78F788D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="" xmlns:a16="http://schemas.microsoft.com/office/drawing/2014/main" id="{5CAC3331-61E9-4C57-9F39-E232782360B2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A6A6A6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2" name="Date Placeholder 1">
            <a:extLst>
              <a:ext uri="{FF2B5EF4-FFF2-40B4-BE49-F238E27FC236}">
                <a16:creationId xmlns="" xmlns:a16="http://schemas.microsoft.com/office/drawing/2014/main" id="{E83BE4D6-8C7D-4405-9CB6-803D3B0AF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0D9C63F-45DE-42EE-937D-A7F8785CCD7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73174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="" xmlns:a16="http://schemas.microsoft.com/office/drawing/2014/main" id="{625F75B0-03AB-4723-8B67-60ED3F51A3D8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="" xmlns:a16="http://schemas.microsoft.com/office/drawing/2014/main" id="{F3391F6D-A0B8-486F-B563-E61EEE5D1E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7B413C1F-ECA6-4A15-A470-7386C0A234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="" xmlns:a16="http://schemas.microsoft.com/office/drawing/2014/main" id="{14A809A0-7DF5-4C2B-AAB4-CADD3BA89BBA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="" xmlns:a16="http://schemas.microsoft.com/office/drawing/2014/main" id="{806ACA58-B589-4F3D-A609-2C00F1992A3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="" xmlns:a16="http://schemas.microsoft.com/office/drawing/2014/main" id="{A39D7D2A-0AC8-4C70-8AA3-A1BBCA32175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439753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AE5908F6-3C54-410B-A4F0-A07741239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AE5908F6-3C54-410B-A4F0-A07741239BC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770647FF-A149-42DA-B3AB-C5CCDDE0BBD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596278A-BB85-4606-9163-C8C2B88CADF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DD772848-2D86-4147-832A-2EC41EC93F0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="" xmlns:a16="http://schemas.microsoft.com/office/drawing/2014/main" id="{D1551FCC-7F37-4C8B-B11C-A1E87E98F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FE46250-7A67-4F63-A141-092C4ED2466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919721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2D4F12A5-A9D1-42B2-A3B8-6523E21C11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2D4F12A5-A9D1-42B2-A3B8-6523E21C113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="" xmlns:a16="http://schemas.microsoft.com/office/drawing/2014/main" id="{7FC6604A-25EE-4164-B1CC-49DA338361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97F4C3A-24CC-49B4-8F9E-C39A57C99ED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PanelGray">
            <a:extLst>
              <a:ext uri="{FF2B5EF4-FFF2-40B4-BE49-F238E27FC236}">
                <a16:creationId xmlns="" xmlns:a16="http://schemas.microsoft.com/office/drawing/2014/main" id="{6ABE4E6B-F5DC-49E8-8262-5D6EC7442BE0}"/>
              </a:ext>
            </a:extLst>
          </p:cNvPr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D737BAC7-B977-466F-B733-CEF89D80C05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="" xmlns:a16="http://schemas.microsoft.com/office/drawing/2014/main" id="{98565BE1-3B6B-49A7-AC08-394024F0F7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1F2DB1E-F89D-4B20-9C9A-367ACF7A32B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136620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E90CB70E-C54D-4707-BFDD-3897B18A83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2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E90CB70E-C54D-4707-BFDD-3897B18A83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3C8C9C04-CF36-4151-B388-AEE34940EB7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3E6469A-988A-464B-95EA-25E640FA2D2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94B7F182-ACA1-4326-851E-5C261FE1E42D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34D7FF5B-DDB8-4A9B-90DC-BAF89CAD213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8">
            <a:extLst>
              <a:ext uri="{FF2B5EF4-FFF2-40B4-BE49-F238E27FC236}">
                <a16:creationId xmlns="" xmlns:a16="http://schemas.microsoft.com/office/drawing/2014/main" id="{FD263BE8-413A-4741-B563-6AD9179EC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8749773-1DB1-487F-A5D1-7C6134D71F7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1897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E92169B-C10D-40BC-B3DF-DCA42084B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F93B8D-589B-4D07-92CA-B45B75C64B46}" type="datetime1">
              <a:rPr lang="en-US" smtClean="0"/>
              <a:t>5/22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28F630F-01E4-43ED-B648-4617F2D76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0CD357C-FF9A-49BC-AA87-87E494B84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81377-88FF-4035-89AF-C800C04359B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7043642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96F0FCE6-3299-4A7C-A7D2-7345C17140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4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96F0FCE6-3299-4A7C-A7D2-7345C171406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8104529B-A7CB-4E6B-8DE1-5B404EB5F0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FD39822-F894-4F77-BBEC-38E612540B4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Line">
            <a:extLst>
              <a:ext uri="{FF2B5EF4-FFF2-40B4-BE49-F238E27FC236}">
                <a16:creationId xmlns="" xmlns:a16="http://schemas.microsoft.com/office/drawing/2014/main" id="{0E027F4B-19DB-44D2-9DFD-64C083E7A05A}"/>
              </a:ext>
            </a:extLst>
          </p:cNvPr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8">
            <a:extLst>
              <a:ext uri="{FF2B5EF4-FFF2-40B4-BE49-F238E27FC236}">
                <a16:creationId xmlns="" xmlns:a16="http://schemas.microsoft.com/office/drawing/2014/main" id="{86B97CF7-E03E-4F30-AEC4-04CACB315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F35D0CF-BF40-4973-A1FB-D6C2D831580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588297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1E0FB22C-C7EF-444A-B93D-C8BB0DA5C16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A68A2631-F5A5-4CB3-ACAC-F367A548C5E8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55C7D92-5DD7-4A96-AACD-953B1EAEF4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5DA2413-DB8C-4B94-A1EB-1A6AE6D081C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A4BDA2F-29F0-42CB-A855-E334DAB97A7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D5E486C5-9D84-4E3C-A857-80D21F50FE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342503C-15BC-4503-835E-6EAAC62361E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768963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738B4DF2-DFED-42D2-976B-B459830815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ACF94D8F-DD8D-4B33-95C3-C36FE856CEC6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7509B373-7876-4C9D-9247-CFDEC667B9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F34FB59-5A12-485A-B8EF-3F5BFFC39BB7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3CDBAF23-4956-40C5-96E8-EF31811EBA3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2F5427C5-0319-4999-A140-1464E9588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DDCEF16-8C84-4AC7-A0FE-4D06DEC21F5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89208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9B9ED288-0578-49D9-AF0C-086E9C65B95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3B6CA0B-82EE-48C3-A789-EE2CA7F8F257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Shadow">
            <a:extLst>
              <a:ext uri="{FF2B5EF4-FFF2-40B4-BE49-F238E27FC236}">
                <a16:creationId xmlns="" xmlns:a16="http://schemas.microsoft.com/office/drawing/2014/main" id="{48F33C56-5B10-4EC8-94E2-F230681774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3FA82C46-4438-43EE-9480-5D3CEBF3A807}"/>
              </a:ext>
            </a:extLst>
          </p:cNvPr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EFCA63BB-0E35-406D-9C92-F6229C49032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246BAC80-C207-410A-9795-4F1F0975B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3021828-F8E9-430C-A169-3472E038ADC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208573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90D85F48-1797-4CDC-BA2D-8F9795982F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AA543DBC-F7D8-416D-BD3D-D15A2C60529B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5CCD217D-8CD0-4180-987B-0658C9FB01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41CA46A-11C9-41AF-902B-EA3124AC52F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0046882-683A-457D-83A7-611FD9AF27C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F1A51CFC-B784-4243-9973-9BEFD91322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C2D4EC4-6A8C-4AAE-8562-1D1DD5184A8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129005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C2EF34C3-2591-493F-9C57-F6E3AC8772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DD2E4701-1E6C-4804-BE74-8F106A9644B6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90175E17-701F-48A5-81B4-900C0840F3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DC31867-25B5-4CD8-9E9B-B809E4FB83E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8D01F80B-CC6F-4008-A7EC-C3D963F712B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BF4C78FB-D940-43AB-A794-9223689E5A8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676DFDE-21BF-490D-8B5F-97592FE0A18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185331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0DCEBDAF-6B05-4855-BCC9-5BD21C69D5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E84E0698-4975-455C-826D-ECD67F98EDD0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4CC8C17A-3F67-4F3E-9454-48524308F9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2653EDB-1A6C-4CE3-BDBE-736938D7841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15AECBA8-E145-4613-B1B5-A2B46DD3E62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6AC16167-BB0F-4050-B12A-36FE4185E4E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51C6D28-6B98-440F-9BF3-332D626A93A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399885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C9288869-A93B-4354-8501-284BA5C9A8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44ADFCB1-07A4-40D7-8118-2AF2E9135F03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F5EB2B10-C428-4015-86F0-2BFD518962C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48A7CBB-74D1-495B-8830-A4AAAD1B9D3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610F5D58-EDC9-4CEC-A330-0429FE1E2DE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CB3E6E9F-08A3-457D-BE35-48802D3585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EF5BC2F-2DB4-421C-8A93-6FF71989758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464944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5E2FB8D2-7418-4742-85F5-64FD1C7490B4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A271936E-0D71-41A4-A951-7E3347A56A5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6ABFA60-4204-4EFD-A728-E93940C71B2B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03FABBDF-F5B1-4E62-8F52-2D5F3073B1B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="" xmlns:a16="http://schemas.microsoft.com/office/drawing/2014/main" id="{5A7DCB00-65AE-4AC9-874F-177F0E919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3F2C02BE-1DB5-48D6-99AE-7109CA054C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2B98E8A-32EE-4314-87F5-BB1A13E331B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632876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35CE00CD-9CBA-4D6B-BBAF-86A809F8B7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1C2A584A-7EDA-4A6A-985B-B3D8DABD031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12E038BB-B182-4C68-82D4-2BA7A548EBE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64D772D-80F6-47F3-8F93-56118DEAA2A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C93C38E5-5CCD-45AE-8C94-DB3E338EB3F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D6229CB3-88EE-4ED4-B2B5-DB4531728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DDA6A75-539C-46DD-83C9-8F02791DB81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60388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="" xmlns:a16="http://schemas.microsoft.com/office/drawing/2014/main" id="{B5EC6EAC-F8BE-42F9-93FD-DA32B5788B76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="" xmlns:a16="http://schemas.microsoft.com/office/drawing/2014/main" id="{42F87937-6DDA-45F5-9912-15368BA94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63958906-D713-488B-84C9-6D3DD30C25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="" xmlns:a16="http://schemas.microsoft.com/office/drawing/2014/main" id="{22297AC3-F6AD-4CFC-BA54-CB573B62D786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7875" y="1477963"/>
            <a:ext cx="7915275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="" xmlns:a16="http://schemas.microsoft.com/office/drawing/2014/main" id="{DBF843DC-3F24-4539-AB3B-0F3D79842A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="" xmlns:a16="http://schemas.microsoft.com/office/drawing/2014/main" id="{1DE9D319-9187-476A-AE50-A4A11C17D28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516437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967572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65C6D67A-325D-4EC9-AF5D-71236D1E452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4945B76F-1C70-4913-9538-BB102A2F9F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D061AFB-586F-443B-AFB9-73D5DE61781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EE4781DF-2FC4-42CE-92BC-7D622B821C0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DF02B9AB-7D34-436C-862C-6F98FFFA8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B783FF00-4377-4FAE-BB0A-7FCF1F9113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03F12F8-C75E-44EE-A826-87FC4F5151E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791251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8344E7F7-151D-45E6-9EB9-A80E13CA0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1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8344E7F7-151D-45E6-9EB9-A80E13CA068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Shadow">
            <a:extLst>
              <a:ext uri="{FF2B5EF4-FFF2-40B4-BE49-F238E27FC236}">
                <a16:creationId xmlns="" xmlns:a16="http://schemas.microsoft.com/office/drawing/2014/main" id="{425D6A82-CBEF-4DB6-AB07-7A84A14BC9A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rowPanelWhite">
            <a:extLst>
              <a:ext uri="{FF2B5EF4-FFF2-40B4-BE49-F238E27FC236}">
                <a16:creationId xmlns="" xmlns:a16="http://schemas.microsoft.com/office/drawing/2014/main" id="{B74A7F2E-6673-46BB-82A1-4210651D60BA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>
            <a:extLst>
              <a:ext uri="{FF2B5EF4-FFF2-40B4-BE49-F238E27FC236}">
                <a16:creationId xmlns="" xmlns:a16="http://schemas.microsoft.com/office/drawing/2014/main" id="{36B7ACC7-EE7B-4CA6-85F2-61575740186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623356A-8545-44B2-A84B-20B7A11D51E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ooterSimple" hidden="1">
            <a:extLst>
              <a:ext uri="{FF2B5EF4-FFF2-40B4-BE49-F238E27FC236}">
                <a16:creationId xmlns="" xmlns:a16="http://schemas.microsoft.com/office/drawing/2014/main" id="{A9736FE7-7EDC-4AEE-9580-4BF61CE3144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="" xmlns:a16="http://schemas.microsoft.com/office/drawing/2014/main" id="{0296702C-D668-4EBC-A3E9-35AB9DD6FB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A3A75C4-5AFB-4735-8681-4070A8C6B27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612065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CAC97D61-341B-41C0-BAA4-05E13061AFB0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A070E662-892C-4351-8074-0F4E0C6ADE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94B3B23-DE67-4EF5-86F5-2B059914DB2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417CD47A-0490-4449-8CC0-38551B7EB82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="" xmlns:a16="http://schemas.microsoft.com/office/drawing/2014/main" id="{122949A2-3019-44E4-91B4-48E114213B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AFBE71A1-FB89-4902-B8A7-6DCA52DB5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1D0A3B3-68E1-4424-94FC-91A6905EDCD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363347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46CBEF97-76C5-42A2-8CC8-DB00EEFB1A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53503C2D-F4D5-41D0-B008-1AF7C0AFBE9F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602EEC1C-406A-4F1F-8427-EC4E74FD36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BBD959B-8AC8-4C47-9073-460DBACD0CD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5523684A-6CF7-4EB0-8C4E-C8CE229B32C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B9F1B6A8-ED91-4253-A6AE-C811780E7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0663802-9E20-4DDC-AF6C-4F44ED9A209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722533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B5215B8E-0C17-4248-8438-1C88A2F9209C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28F6E452-714D-4F95-B9A4-1FA968B756A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48D8A43-1D89-4217-AC33-87CDB448C14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BE6CB6A4-E375-44F4-BD05-FB3D7486DAF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7">
            <a:extLst>
              <a:ext uri="{FF2B5EF4-FFF2-40B4-BE49-F238E27FC236}">
                <a16:creationId xmlns="" xmlns:a16="http://schemas.microsoft.com/office/drawing/2014/main" id="{DEB5AB45-95FF-4720-8D60-384C2904D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5F955464-8F61-4F10-95F2-A0E8192A3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6D7223C-0805-4C19-88D0-B689E3D0F373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435641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B9381FF8-5CB1-42CB-875E-60E9BB0AE59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E0354B6-73CD-4568-A0ED-9AFC03A68FA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7FA2399B-7B7A-43E1-AA26-C8F125E280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C026D2C6-7A72-4047-AB1A-9DF1D0C076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7FBF76F-18F3-4C12-A941-1B543D642C0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014557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F94349C8-2B44-4BE7-894F-232BD59258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3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F94349C8-2B44-4BE7-894F-232BD59258F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0DDCA29C-6679-4CA1-BECE-1BFDE6AFD3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998AFD0-0BCF-4C11-B4D0-98E3122C775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C017A99D-374E-4AC9-8CEC-02B2D0FAA25D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A2A846FB-A40C-4FCE-A8F5-7FB34C7E91B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58F99F7C-F3D8-4B1C-BEBC-32249AC78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C041571-EBD1-46D3-BBA5-647D4544949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582578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5FED2DBA-0EB1-430B-9679-83008B498A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age">
            <a:extLst>
              <a:ext uri="{FF2B5EF4-FFF2-40B4-BE49-F238E27FC236}">
                <a16:creationId xmlns="" xmlns:a16="http://schemas.microsoft.com/office/drawing/2014/main" id="{E8B4A615-B9D1-4FC5-92B9-123AEF52F2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025EA0C-9554-4643-A3DC-701520E0D7E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Bubble">
            <a:extLst>
              <a:ext uri="{FF2B5EF4-FFF2-40B4-BE49-F238E27FC236}">
                <a16:creationId xmlns="" xmlns:a16="http://schemas.microsoft.com/office/drawing/2014/main" id="{CBDA4EA0-02A6-49D8-9CB1-BC2D8232C8E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5" name="Rectangle 9">
              <a:extLst>
                <a:ext uri="{FF2B5EF4-FFF2-40B4-BE49-F238E27FC236}">
                  <a16:creationId xmlns="" xmlns:a16="http://schemas.microsoft.com/office/drawing/2014/main" id="{5E02D508-DECB-44E3-80B5-63CA09CFCE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" name="Right Triangle 10">
              <a:extLst>
                <a:ext uri="{FF2B5EF4-FFF2-40B4-BE49-F238E27FC236}">
                  <a16:creationId xmlns="" xmlns:a16="http://schemas.microsoft.com/office/drawing/2014/main" id="{F642B210-D747-4A06-881F-E43A72D1E9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2CDAD28E-6FD1-477A-BB55-AAB834CB61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EE68EC7-AFA6-4DD0-A461-3F31BE17BB46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037720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5C2A996B-C70A-4B58-BE55-4B4E8C623CDC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4D2ACFA-0008-443B-B901-013831329FB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2148B6C6-ECAA-403D-B847-1C02F15C5F2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2">
            <a:extLst>
              <a:ext uri="{FF2B5EF4-FFF2-40B4-BE49-F238E27FC236}">
                <a16:creationId xmlns="" xmlns:a16="http://schemas.microsoft.com/office/drawing/2014/main" id="{8A630685-528D-48C4-B236-AE586CECA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193EB11-F92E-4107-B913-D23DCD9A59C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729865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BD73095C-ECFC-4383-A44E-10B0B40A8A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24387082-3D89-48E1-83C9-6E1E1B2047B1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40ACE82A-A257-4465-8F88-3BA8C382AA1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27B61C6-FB82-4FFD-B481-2595492F145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="" xmlns:a16="http://schemas.microsoft.com/office/drawing/2014/main" id="{9EEA2F56-D292-4497-A2AD-42C62534E3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824C31C7-C172-4B47-A096-65A757B1CF9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A43678EC-14A4-436B-B88F-2119845A27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89CD863-0C25-427B-8993-E50589B31F8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82309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055E7AD6-A7FE-485F-9F4A-E2EF7A7164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055E7AD6-A7FE-485F-9F4A-E2EF7A7164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59F942D9-E9C6-4A80-AC16-74F1F233D1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86D1513-E481-44FA-AE44-87BC0C56C57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FC05D162-C8A2-43D0-8B1C-8AE3ED32870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C227AB69-66E2-4302-AE65-402E80E02B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B3E2E3E-F2A4-46AE-8645-8A9E04A47A4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33202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="" xmlns:a16="http://schemas.microsoft.com/office/drawing/2014/main" id="{5F1E4022-B8BA-4BCB-BE32-91D4B298DE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C30E067-8405-4867-AE6A-C22A4E463FC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="" xmlns:a16="http://schemas.microsoft.com/office/drawing/2014/main" id="{B9EE1D41-3B49-4CFD-B593-6F255B55901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4">
            <a:extLst>
              <a:ext uri="{FF2B5EF4-FFF2-40B4-BE49-F238E27FC236}">
                <a16:creationId xmlns="" xmlns:a16="http://schemas.microsoft.com/office/drawing/2014/main" id="{714D8002-B2A7-456E-A10F-916FAB9CE3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CA4F7D3-AF93-4380-8AC5-823BAD3F530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956759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3F0EE6BA-27F8-4168-9A7A-C12687FD1E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5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3F0EE6BA-27F8-4168-9A7A-C12687FD1E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D3AFECE2-F8A6-443E-8BB6-763CB288C5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AFD9609-58E0-4E5A-8CBA-63A7BCA37CE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03610148-F72D-404A-B757-56BFF53E5E2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6">
            <a:extLst>
              <a:ext uri="{FF2B5EF4-FFF2-40B4-BE49-F238E27FC236}">
                <a16:creationId xmlns="" xmlns:a16="http://schemas.microsoft.com/office/drawing/2014/main" id="{F0936DA3-D2E5-48AF-A9C3-D0769E2F05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256AC58-F398-47AF-A1C8-A0EA28D53D9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495146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90BCEC9F-E920-4417-984E-E772CE970A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7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90BCEC9F-E920-4417-984E-E772CE970AE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CCEB0AAB-1B0C-4D3E-BB8B-7E414C6B85A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C24519D-A095-40F3-A8A4-99B74F044D1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AADAEAE8-3768-46EE-9597-D7B5F348088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2733161726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4315057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FB2513FA-42C3-4673-BD11-768357233D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2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FB2513FA-42C3-4673-BD11-768357233D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200717C3-3FDD-437F-ADF4-3863A41D7AB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9F78750-A744-46D5-816A-2DF0B9FCF65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A4Grid">
            <a:extLst>
              <a:ext uri="{FF2B5EF4-FFF2-40B4-BE49-F238E27FC236}">
                <a16:creationId xmlns="" xmlns:a16="http://schemas.microsoft.com/office/drawing/2014/main" id="{C3D6EF88-E9EC-4BF3-8AAA-05D23618AF3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" name="Slide edges">
              <a:extLst>
                <a:ext uri="{FF2B5EF4-FFF2-40B4-BE49-F238E27FC236}">
                  <a16:creationId xmlns="" xmlns:a16="http://schemas.microsoft.com/office/drawing/2014/main" id="{E5450F10-29A7-4CF4-921B-1D14F9960DD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6" name="No-fly zone">
              <a:extLst>
                <a:ext uri="{FF2B5EF4-FFF2-40B4-BE49-F238E27FC236}">
                  <a16:creationId xmlns="" xmlns:a16="http://schemas.microsoft.com/office/drawing/2014/main" id="{06814D04-2385-4821-BB24-264FE0AA7D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="" xmlns:a16="http://schemas.microsoft.com/office/drawing/2014/main" id="{11BFE9A1-29ED-477D-B74D-B2015FEA30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="" xmlns:a16="http://schemas.microsoft.com/office/drawing/2014/main" id="{B45E4381-6341-4C7C-AD7C-2455D46217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9" name="Gutter space">
              <a:extLst>
                <a:ext uri="{FF2B5EF4-FFF2-40B4-BE49-F238E27FC236}">
                  <a16:creationId xmlns="" xmlns:a16="http://schemas.microsoft.com/office/drawing/2014/main" id="{494496D3-E2A1-4647-A184-B605E1F5140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39" name="Gutter 11">
                <a:extLst>
                  <a:ext uri="{FF2B5EF4-FFF2-40B4-BE49-F238E27FC236}">
                    <a16:creationId xmlns="" xmlns:a16="http://schemas.microsoft.com/office/drawing/2014/main" id="{18611AE0-5FDF-4E22-9AF9-822A30F38D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0" name="Gutter 10">
                <a:extLst>
                  <a:ext uri="{FF2B5EF4-FFF2-40B4-BE49-F238E27FC236}">
                    <a16:creationId xmlns="" xmlns:a16="http://schemas.microsoft.com/office/drawing/2014/main" id="{A794F6CF-763C-4344-8CA6-6091842F8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1" name="Gutter 9">
                <a:extLst>
                  <a:ext uri="{FF2B5EF4-FFF2-40B4-BE49-F238E27FC236}">
                    <a16:creationId xmlns="" xmlns:a16="http://schemas.microsoft.com/office/drawing/2014/main" id="{80EE2012-5B85-4A4C-83EA-791F71095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8">
                <a:extLst>
                  <a:ext uri="{FF2B5EF4-FFF2-40B4-BE49-F238E27FC236}">
                    <a16:creationId xmlns="" xmlns:a16="http://schemas.microsoft.com/office/drawing/2014/main" id="{6EAC63BD-5687-47BA-8C0F-94482F5351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7">
                <a:extLst>
                  <a:ext uri="{FF2B5EF4-FFF2-40B4-BE49-F238E27FC236}">
                    <a16:creationId xmlns="" xmlns:a16="http://schemas.microsoft.com/office/drawing/2014/main" id="{0ABE8A9B-A595-433D-A0CF-0D0CFEEF0D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6">
                <a:extLst>
                  <a:ext uri="{FF2B5EF4-FFF2-40B4-BE49-F238E27FC236}">
                    <a16:creationId xmlns="" xmlns:a16="http://schemas.microsoft.com/office/drawing/2014/main" id="{D54F7BA1-C6F0-4ABD-BDE9-4D51BB8674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5">
                <a:extLst>
                  <a:ext uri="{FF2B5EF4-FFF2-40B4-BE49-F238E27FC236}">
                    <a16:creationId xmlns="" xmlns:a16="http://schemas.microsoft.com/office/drawing/2014/main" id="{83BDFA94-FD42-4A5A-9B8D-76D34A1D25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4">
                <a:extLst>
                  <a:ext uri="{FF2B5EF4-FFF2-40B4-BE49-F238E27FC236}">
                    <a16:creationId xmlns="" xmlns:a16="http://schemas.microsoft.com/office/drawing/2014/main" id="{213CC6B8-E4AC-4648-A40A-709682B3C9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3">
                <a:extLst>
                  <a:ext uri="{FF2B5EF4-FFF2-40B4-BE49-F238E27FC236}">
                    <a16:creationId xmlns="" xmlns:a16="http://schemas.microsoft.com/office/drawing/2014/main" id="{7C4F438E-7733-429C-9ADB-040EC8B5D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2">
                <a:extLst>
                  <a:ext uri="{FF2B5EF4-FFF2-40B4-BE49-F238E27FC236}">
                    <a16:creationId xmlns="" xmlns:a16="http://schemas.microsoft.com/office/drawing/2014/main" id="{D73D52FA-1732-4223-B3E4-3588A673B3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1">
                <a:extLst>
                  <a:ext uri="{FF2B5EF4-FFF2-40B4-BE49-F238E27FC236}">
                    <a16:creationId xmlns="" xmlns:a16="http://schemas.microsoft.com/office/drawing/2014/main" id="{17B6225E-57EE-45D1-A8B5-DB68482D59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Baselines/Anchors">
              <a:extLst>
                <a:ext uri="{FF2B5EF4-FFF2-40B4-BE49-F238E27FC236}">
                  <a16:creationId xmlns="" xmlns:a16="http://schemas.microsoft.com/office/drawing/2014/main" id="{B0DA7F84-784C-49C1-A48D-5635686C917A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19" name="Line 20">
                <a:extLst>
                  <a:ext uri="{FF2B5EF4-FFF2-40B4-BE49-F238E27FC236}">
                    <a16:creationId xmlns="" xmlns:a16="http://schemas.microsoft.com/office/drawing/2014/main" id="{F2F461BD-EA68-4EE1-AA8D-F1352140EE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="" xmlns:a16="http://schemas.microsoft.com/office/drawing/2014/main" id="{BD86936D-2350-4F0B-9B26-D5BAAE4711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Line 18">
                <a:extLst>
                  <a:ext uri="{FF2B5EF4-FFF2-40B4-BE49-F238E27FC236}">
                    <a16:creationId xmlns="" xmlns:a16="http://schemas.microsoft.com/office/drawing/2014/main" id="{5B5B3AED-80ED-42D2-815A-6E84D327B2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7">
                <a:extLst>
                  <a:ext uri="{FF2B5EF4-FFF2-40B4-BE49-F238E27FC236}">
                    <a16:creationId xmlns="" xmlns:a16="http://schemas.microsoft.com/office/drawing/2014/main" id="{9EF7D909-BE6A-4DE2-96BB-A7EB7D391E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6">
                <a:extLst>
                  <a:ext uri="{FF2B5EF4-FFF2-40B4-BE49-F238E27FC236}">
                    <a16:creationId xmlns="" xmlns:a16="http://schemas.microsoft.com/office/drawing/2014/main" id="{27BBEC21-5FDA-47DD-87DD-4AA8B4A07F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5">
                <a:extLst>
                  <a:ext uri="{FF2B5EF4-FFF2-40B4-BE49-F238E27FC236}">
                    <a16:creationId xmlns="" xmlns:a16="http://schemas.microsoft.com/office/drawing/2014/main" id="{40B3BCC3-B875-4EBB-A560-8A5050F68C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4">
                <a:extLst>
                  <a:ext uri="{FF2B5EF4-FFF2-40B4-BE49-F238E27FC236}">
                    <a16:creationId xmlns="" xmlns:a16="http://schemas.microsoft.com/office/drawing/2014/main" id="{640F41F7-9E9E-40A5-8BAF-ED080E7401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3">
                <a:extLst>
                  <a:ext uri="{FF2B5EF4-FFF2-40B4-BE49-F238E27FC236}">
                    <a16:creationId xmlns="" xmlns:a16="http://schemas.microsoft.com/office/drawing/2014/main" id="{F45FF175-1779-425E-B6E1-C9448E75DC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2">
                <a:extLst>
                  <a:ext uri="{FF2B5EF4-FFF2-40B4-BE49-F238E27FC236}">
                    <a16:creationId xmlns="" xmlns:a16="http://schemas.microsoft.com/office/drawing/2014/main" id="{E61BA1B2-EDF4-4B40-B2A7-5F52E6AC42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1">
                <a:extLst>
                  <a:ext uri="{FF2B5EF4-FFF2-40B4-BE49-F238E27FC236}">
                    <a16:creationId xmlns="" xmlns:a16="http://schemas.microsoft.com/office/drawing/2014/main" id="{7052DAB2-BDD2-46FC-AE03-54D8511BAB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="" xmlns:a16="http://schemas.microsoft.com/office/drawing/2014/main" id="{D87E0F12-E4DE-4E7C-9EC4-A72E552832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="" xmlns:a16="http://schemas.microsoft.com/office/drawing/2014/main" id="{F0294EAB-F9C0-4CEE-A7D5-FBE67FFDCB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8">
                <a:extLst>
                  <a:ext uri="{FF2B5EF4-FFF2-40B4-BE49-F238E27FC236}">
                    <a16:creationId xmlns="" xmlns:a16="http://schemas.microsoft.com/office/drawing/2014/main" id="{121DD344-205C-4B5C-9136-E6430A05B3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7">
                <a:extLst>
                  <a:ext uri="{FF2B5EF4-FFF2-40B4-BE49-F238E27FC236}">
                    <a16:creationId xmlns="" xmlns:a16="http://schemas.microsoft.com/office/drawing/2014/main" id="{EC46B465-20B2-4E23-859F-3D2E299529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6">
                <a:extLst>
                  <a:ext uri="{FF2B5EF4-FFF2-40B4-BE49-F238E27FC236}">
                    <a16:creationId xmlns="" xmlns:a16="http://schemas.microsoft.com/office/drawing/2014/main" id="{9B1FB39E-6731-450A-9CC6-F94CBBDF90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5">
                <a:extLst>
                  <a:ext uri="{FF2B5EF4-FFF2-40B4-BE49-F238E27FC236}">
                    <a16:creationId xmlns="" xmlns:a16="http://schemas.microsoft.com/office/drawing/2014/main" id="{33089DEC-BC88-44EA-9B51-54F110E16F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4">
                <a:extLst>
                  <a:ext uri="{FF2B5EF4-FFF2-40B4-BE49-F238E27FC236}">
                    <a16:creationId xmlns="" xmlns:a16="http://schemas.microsoft.com/office/drawing/2014/main" id="{3DB5569D-F8E8-4B5A-9035-87D0AB9986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3">
                <a:extLst>
                  <a:ext uri="{FF2B5EF4-FFF2-40B4-BE49-F238E27FC236}">
                    <a16:creationId xmlns="" xmlns:a16="http://schemas.microsoft.com/office/drawing/2014/main" id="{5DD708A4-8466-4CC8-A466-8EF362BC43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2">
                <a:extLst>
                  <a:ext uri="{FF2B5EF4-FFF2-40B4-BE49-F238E27FC236}">
                    <a16:creationId xmlns="" xmlns:a16="http://schemas.microsoft.com/office/drawing/2014/main" id="{9503D7D1-5D33-4B06-A893-65A245E93A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1">
                <a:extLst>
                  <a:ext uri="{FF2B5EF4-FFF2-40B4-BE49-F238E27FC236}">
                    <a16:creationId xmlns="" xmlns:a16="http://schemas.microsoft.com/office/drawing/2014/main" id="{7855E0B1-3D4C-42A0-A826-D2758ED54D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Five column measure">
              <a:extLst>
                <a:ext uri="{FF2B5EF4-FFF2-40B4-BE49-F238E27FC236}">
                  <a16:creationId xmlns="" xmlns:a16="http://schemas.microsoft.com/office/drawing/2014/main" id="{8849D3FF-1FCF-4EA8-AD43-4C46401B8CD8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4" name="Column 5">
                <a:extLst>
                  <a:ext uri="{FF2B5EF4-FFF2-40B4-BE49-F238E27FC236}">
                    <a16:creationId xmlns="" xmlns:a16="http://schemas.microsoft.com/office/drawing/2014/main" id="{81677D9E-236C-4B89-9707-33977C9848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5" name="Column 4">
                <a:extLst>
                  <a:ext uri="{FF2B5EF4-FFF2-40B4-BE49-F238E27FC236}">
                    <a16:creationId xmlns="" xmlns:a16="http://schemas.microsoft.com/office/drawing/2014/main" id="{C2579F36-55E2-4409-875E-5C6B191AF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6" name="Column 3">
                <a:extLst>
                  <a:ext uri="{FF2B5EF4-FFF2-40B4-BE49-F238E27FC236}">
                    <a16:creationId xmlns="" xmlns:a16="http://schemas.microsoft.com/office/drawing/2014/main" id="{FC904DAB-EE49-44DD-A08C-8BB29E94B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2">
                <a:extLst>
                  <a:ext uri="{FF2B5EF4-FFF2-40B4-BE49-F238E27FC236}">
                    <a16:creationId xmlns="" xmlns:a16="http://schemas.microsoft.com/office/drawing/2014/main" id="{E33C8E38-B14C-4987-B98B-6F86CA49C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1">
                <a:extLst>
                  <a:ext uri="{FF2B5EF4-FFF2-40B4-BE49-F238E27FC236}">
                    <a16:creationId xmlns="" xmlns:a16="http://schemas.microsoft.com/office/drawing/2014/main" id="{E56FDEBF-3C88-4D11-8354-0CEC2084BF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2" name="Live space">
              <a:extLst>
                <a:ext uri="{FF2B5EF4-FFF2-40B4-BE49-F238E27FC236}">
                  <a16:creationId xmlns="" xmlns:a16="http://schemas.microsoft.com/office/drawing/2014/main" id="{EB428E32-3975-4CD4-A520-67B2D7500757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="" xmlns:a16="http://schemas.microsoft.com/office/drawing/2014/main" id="{FB86B22B-32FE-4485-B084-12869D54CF6D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0" name="FooterSimple" hidden="1">
            <a:extLst>
              <a:ext uri="{FF2B5EF4-FFF2-40B4-BE49-F238E27FC236}">
                <a16:creationId xmlns="" xmlns:a16="http://schemas.microsoft.com/office/drawing/2014/main" id="{198A8E26-F2D9-48B7-91B4-CE8F1476A4C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1" name="Date Placeholder 1">
            <a:extLst>
              <a:ext uri="{FF2B5EF4-FFF2-40B4-BE49-F238E27FC236}">
                <a16:creationId xmlns="" xmlns:a16="http://schemas.microsoft.com/office/drawing/2014/main" id="{C0BC52E4-7916-4C00-8BD8-8FE05A770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ED34DB5-316C-4E10-BD0A-7DE15453D2E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416168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E8C08DA7-849A-4FEA-BAE2-435A661651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49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E8C08DA7-849A-4FEA-BAE2-435A661651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7CF23C2F-76A6-47EC-8C5C-8F1AD7F9174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9CA72BB-7B99-4D53-9B99-D8A6A6ADBC18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2EFC0566-E2EF-43F9-B5B2-472679DFE36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="" xmlns:a16="http://schemas.microsoft.com/office/drawing/2014/main" id="{4C263B49-3356-42E8-92F1-5A0F1FCEAD6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BE2785AA-4261-4DA6-8505-01D8B30FE75F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="" xmlns:a16="http://schemas.microsoft.com/office/drawing/2014/main" id="{CE8B9A12-81F4-4F4C-881B-B79AF724EE5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5850168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397B6482-D9A5-431C-B2A8-372CFD121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73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397B6482-D9A5-431C-B2A8-372CFD1218A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839B05D9-1760-4AA4-B920-6E03499ABCE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E31B454-5D97-4C1B-8E56-ABAC02C41EB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572A9ADE-C0C4-4EFB-B4C5-B0665D291B4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="" xmlns:a16="http://schemas.microsoft.com/office/drawing/2014/main" id="{21B78E14-E096-4D29-B4B7-66B6F33D79E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C3285B8F-AF70-4231-B7CB-9B0EEDE395E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217780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CB306880-08E5-4DAF-A416-59941326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7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CB306880-08E5-4DAF-A416-5994132645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D7CD848C-DBA0-4B6B-A76C-348135AF3B2E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4DCB613-E70D-4D47-A00F-25162B6248A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C07B427E-11D9-480C-A8EB-DC79EC2158E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="" xmlns:a16="http://schemas.microsoft.com/office/drawing/2014/main" id="{91667315-0357-44C5-9BC1-2DED99EB84D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3595C614-9B97-484B-BFA1-BAF9932E02A4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55577418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CEEC4AB2-D8C2-4EDD-9131-E84C2D1F61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2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CEEC4AB2-D8C2-4EDD-9131-E84C2D1F618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F2AFD6F3-C119-47F3-8CEB-5A8862E173C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51D15BC7-6F76-4B7C-8461-6AEC6F251D8B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800837E1-5685-45FF-BD44-B8BD988CA47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511F6A0-CA03-40F2-9670-760A695A49A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AD4DE9C4-0C89-48BC-A66B-099FA4EE3DB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="" xmlns:a16="http://schemas.microsoft.com/office/drawing/2014/main" id="{7698710C-2EF3-458A-B456-BE0D0C0F50F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8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54356019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571C84C6-7C8B-408B-AAE6-0B57145BE5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81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571C84C6-7C8B-408B-AAE6-0B57145BE5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C433E9BE-73A1-4FC9-B53E-5ABAB31D56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36A3FF3-158D-4066-A337-4C5CF36A281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3DDE3310-F28A-4722-A076-EDB632D663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3DDE3310-F28A-4722-A076-EDB632D663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A1C250C0-54D3-4C41-B319-6D7C9661BBC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2B3EC65A-D2AE-464F-9DB1-C3B0380793D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E5998765-3B38-4BB4-ABB0-A848D72BBF1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="" xmlns:a16="http://schemas.microsoft.com/office/drawing/2014/main" id="{F4A324CB-25E4-4CE0-BBB6-12A29D5E9A14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8082692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74B520B0-D8B5-46A2-B9F4-25BDAD722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74B520B0-D8B5-46A2-B9F4-25BDAD7229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5354809F-81E6-4057-B686-360D0BE715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166EAC2-530C-486A-9771-4454ACA6B35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7DB02DF0-E47E-4666-ADCD-EBBF38010A77}"/>
              </a:ext>
            </a:extLst>
          </p:cNvPr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9C586C0E-68C3-49D2-B60F-C5B39DCED93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CE698856-5729-4E20-963D-58115D4EB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21F4C8B-A628-4932-8A96-DC381BE2CF6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454151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08B8CA09-D461-40C8-9413-C75AE3C22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05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08B8CA09-D461-40C8-9413-C75AE3C22AD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AE4D30CB-5239-449F-8754-AA27CC1978F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E57B22D-9D50-405C-AFCB-A0CC5B0F2FD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2A262A87-7C50-498C-9CD2-EC1290685F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0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2A262A87-7C50-498C-9CD2-EC1290685F1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D12055EB-0188-43DD-AAED-BA7C5A9FCF43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5295B34D-DF2F-4545-AC0F-895CA1BB011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10E2B36D-FF3A-4928-BEA6-01A1C6126BE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001726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767DFB5-1583-46E5-9050-FEB05743B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29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4767DFB5-1583-46E5-9050-FEB05743B06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0F3AA3A2-91CA-4376-8ADC-3F638F2215E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BB9CC60-43F3-4399-9C43-5FF37BE96DD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8D724A0-EDC3-49DA-98EB-11D60E35E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3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68D724A0-EDC3-49DA-98EB-11D60E35EC4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91641F96-18BC-4CFC-84FB-A62CB9592C5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6" name="Straight Connector 7">
            <a:extLst>
              <a:ext uri="{FF2B5EF4-FFF2-40B4-BE49-F238E27FC236}">
                <a16:creationId xmlns="" xmlns:a16="http://schemas.microsoft.com/office/drawing/2014/main" id="{3D3B2772-C7C6-451C-9D88-364CCCC044B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4FEA3572-D36B-47A3-91AE-0B7505FEA8C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76874409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FBF92651-5A03-41ED-8A24-E0BF8FF5BC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1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FBF92651-5A03-41ED-8A24-E0BF8FF5BCB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BAEA48A7-FEB2-4872-A4C2-01A3640358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D19AC236-B9C3-45CE-B93E-D7D400B9485C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F978A3E-64A6-4F6D-BBD8-7E60C58B519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EC2106D-04E5-4464-825D-0F981B4B089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C1049F9-F07A-4E56-B54C-DAD5FD1FB33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="" xmlns:a16="http://schemas.microsoft.com/office/drawing/2014/main" id="{98B0877F-683C-477D-95BB-615BDD54922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4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28858424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F906256-BF85-48B2-ACB1-B4546FF44D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4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4F906256-BF85-48B2-ACB1-B4546FF44D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D5C2573A-AA53-4926-A260-4474DED638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B91FBDC4-B404-4C25-8E94-427A86F0A399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5852B7B9-EB0E-420F-86FA-EABEAB6A405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9B3A423-AB59-45AE-8D37-26E8806C35B7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="" xmlns:a16="http://schemas.microsoft.com/office/drawing/2014/main" id="{06C9751C-869C-4511-9704-1063BEE93C2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D00BF744-C1E9-436B-8A8B-BA1987F2722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717185460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="" xmlns:a16="http://schemas.microsoft.com/office/drawing/2014/main" id="{66C3E55C-66FA-44D2-A000-A6C8BFF6C93B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="" xmlns:a16="http://schemas.microsoft.com/office/drawing/2014/main" id="{DD4D8977-22E9-4F9B-927C-1275F9F100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6B54DEA9-202A-412A-A5AA-558E8AAC21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="" xmlns:a16="http://schemas.microsoft.com/office/drawing/2014/main" id="{C11DDD5F-AF56-462F-ACFE-1F338612E972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="" xmlns:a16="http://schemas.microsoft.com/office/drawing/2014/main" id="{220CC563-416A-40B5-A4CB-48200A7B3C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="" xmlns:a16="http://schemas.microsoft.com/office/drawing/2014/main" id="{F4B90F2B-C6F5-49B4-A177-CA2B6480DC2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273824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56FAD390-9E5F-4DE7-BB29-E18E280DF5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1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56FAD390-9E5F-4DE7-BB29-E18E280DF5C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3135F3B1-2F1D-4900-8484-DD67287D4B7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2306624-110A-472B-A912-0468EFEB86E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25525E6-6D29-4AE1-80EE-45692517937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BD6538F7-C5C9-4207-9C29-43ABD30DC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DE0DA6E-2384-44BE-8A14-1C3E5066A23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408261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6A85B88A-7495-4A2B-8673-997A1852D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6A85B88A-7495-4A2B-8673-997A1852D21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A502641B-3158-4D40-9D47-89C8D15795B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91914B2-13CC-42AA-8B10-D97286C1186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33A494FA-837C-4DF2-92B7-B7E92BD8F329}"/>
              </a:ext>
            </a:extLst>
          </p:cNvPr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59825AB5-8C19-4CF8-BC3E-1A09CC6A545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6D5ADC15-2287-4738-AD6F-07E4C0BD4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CA79766-9075-4FD9-841F-6DF6562CEC0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730796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2BB3BEBF-387D-4B05-B0C7-4908358E93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6D4BB4D-2326-44DE-BD2C-C62C97BC93E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Square">
            <a:extLst>
              <a:ext uri="{FF2B5EF4-FFF2-40B4-BE49-F238E27FC236}">
                <a16:creationId xmlns="" xmlns:a16="http://schemas.microsoft.com/office/drawing/2014/main" id="{4E20E116-D230-4318-9C72-C60FE1AEE316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57363B38-D8AC-467D-9491-F50804AD4D2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2">
            <a:extLst>
              <a:ext uri="{FF2B5EF4-FFF2-40B4-BE49-F238E27FC236}">
                <a16:creationId xmlns="" xmlns:a16="http://schemas.microsoft.com/office/drawing/2014/main" id="{D3064F78-2E3A-4B86-8AC7-CF3681E7F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AEDC704-E104-46C7-934B-C628801986D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176819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37B0C5D9-603D-4B15-BA00-23A6E1DFB46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AC942E8-9EAE-484B-B873-BF8D9EB7009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="" xmlns:a16="http://schemas.microsoft.com/office/drawing/2014/main" id="{98F77C19-B900-48E6-87B1-585E1752842A}"/>
              </a:ext>
            </a:extLst>
          </p:cNvPr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AB8FF8F5-4809-49A4-9AFF-9A1AD40C1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F4E1105-802D-4409-A6E3-39E2CC70CA6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85879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5ECEB2D4-FC0C-4919-8A76-E450B4C460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BEA76BD5-D51B-43DF-AC98-B757B5A0CD7A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3CDBB1E5-977F-42E8-8CE3-AC4AEB39DC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62CA4C8-A1C6-407A-99D4-5973B6AC4FA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E6E120B1-25BB-400A-9F0C-AFCEE5F67FD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3FE1F746-17BC-473B-926E-A0E27A0322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0C3A092-6CCD-4C51-BF33-C11E772CDF7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77861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A69D13C6-926E-4C07-897B-9EC5BB93F8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DFC3753-A8A6-47E3-9A05-15CFA38D9B2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Square">
            <a:extLst>
              <a:ext uri="{FF2B5EF4-FFF2-40B4-BE49-F238E27FC236}">
                <a16:creationId xmlns="" xmlns:a16="http://schemas.microsoft.com/office/drawing/2014/main" id="{43F5C8D3-C08E-4F7B-806B-4218B5F99973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F8AE045F-7A88-4458-B99E-67AE3E0C98B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2">
            <a:extLst>
              <a:ext uri="{FF2B5EF4-FFF2-40B4-BE49-F238E27FC236}">
                <a16:creationId xmlns="" xmlns:a16="http://schemas.microsoft.com/office/drawing/2014/main" id="{D2387D23-8775-4244-BA3E-AB2C29195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AA8AD92-703C-407D-97A8-285740E97CC3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961893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86B9BD82-24B7-41BA-BD8F-E1B439AA77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278457F0-5383-4002-8660-BE1C5A69D0E7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B439AB36-E6F7-4C37-9863-3CDD1900BDC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162239D-5AB5-4C45-9685-44B116724AE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2050454-D77A-42B0-8D58-0E7B647DEB3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0DFF431A-4C08-4963-82A9-BF99B19B61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8A79EEF-D258-406C-9EE4-A4254995758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066602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C7719C69-D9F4-45C1-A0F0-FCCC942BEA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10F8A82A-2622-4DFF-A4AD-76C39B6ABEF0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82DA8E35-5B11-4BED-A791-175D5864079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BD1BE1F-0975-47E5-A7F2-341FEFA404A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691B62A-0B4F-4B88-8ED4-8B8F5681B46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77B4409E-DBA0-4300-8AC4-7FB5CF7FD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E185E07-FD42-4ED3-9B89-259432838A6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571037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B1D0D1EF-3151-44C3-B683-5B113D90EA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662E54EA-B6E6-4FE4-BE23-053837D986C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9">
            <a:extLst>
              <a:ext uri="{FF2B5EF4-FFF2-40B4-BE49-F238E27FC236}">
                <a16:creationId xmlns="" xmlns:a16="http://schemas.microsoft.com/office/drawing/2014/main" id="{5E43F1F6-8424-4BA1-8C36-7E20F477B5C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7515D10-2FE9-48AC-96EE-7D65619EAFE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88AB5A46-9F0E-4562-A7F4-D953406D96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5489809F-E8D9-4677-AB5D-CC08B569A8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2EE14E8-28EF-466A-AFC6-395CB9431D4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37330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C6252BFE-503A-436F-B9B9-BDB229BDB1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592D2EE7-B137-41DF-AD1F-B5AC3A5A9FB0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614440C1-B715-4B95-8B15-6E0806FF344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8F4666E-7C91-4F9A-ADBD-E764EDEE2DC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B4FB4AFC-180A-455F-AEF8-A5A387DF1E6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87387473-3DFF-47BA-81FB-0DA0CAC81FD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28A7551-2FFE-44A3-BAAE-2C1FD61E1FE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514237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263E9626-600E-484D-946B-2A0D8477DB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E9FBC97C-08B3-436D-97DD-1C06D5D8B8CC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5A3B41B5-002E-4CBA-82C2-915521CEE4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764231C-00A5-436C-B0C7-38F8E1728A9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66B24B49-19E3-41BE-8D81-180A2309BF0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FFC4A926-EA9A-43B4-98A4-23B5BF7D8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18E5BAF-C8F3-444B-A21F-4D094F771BA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4937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032A516C-B7E6-426E-AFA5-39B3B8110B32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95406BD6-BFA6-4A81-8A87-688F6F8C09B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3A3F95D-22F5-4D04-B56B-CA38721CC71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55DB45C0-0A24-4820-8F62-AF915560E0C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F03FDFEB-6DDB-4E62-82C4-BF79CAC6A2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C2DFF4C7-D6E6-4037-B63F-F14691E85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6B8C7A7-83E8-4F96-B32E-36ECD245CD32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288013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F3E466E6-6DBD-4BCD-AC82-1748C2FAC8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8FA5A4E3-1327-4B13-AF0D-445B965B6D4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4F85CE0F-4862-4FEA-8F64-23DD0AFE666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537283C-6154-4AC4-9932-76FC4170257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AC977413-EE21-4CFA-973F-56838174D95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D32C9E37-1D9A-4F3F-A242-B7E1047D7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6E5F4AD-D6F2-404A-8456-3737A254AC6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696875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5056DE5A-22DE-46DA-BDE6-CE65D8F80EA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CD860A8A-3047-4FDA-881B-1BF163B676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0398A76-7FAC-4CB7-8622-C15F412429F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95901484-3352-48E2-8A5C-F7C6952A4E0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F5401C8D-7F9E-43E7-B9EC-56BDCBE64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38D1FEBD-BB96-4C72-BD6D-BC97E76B1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6728B5E-BA55-405A-9E01-BF107A5BEDF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161728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13479A73-7C1C-4FEA-9582-61452D6106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47A22D5A-DB1D-4162-8C95-0139D71A1A6F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0A41E421-DEBC-41E4-8893-A4D64CF6ACC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410BB8F-902E-4A61-8A81-2033C49EAEF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88EE31B-53AB-47DE-9DCF-1CD1EA9BCC0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8245CC15-6674-4D27-88CA-7063ED51D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006DCD7-6D8A-4822-A9F7-4FDA4EF7463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889791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79E6EC3A-E74D-4BC9-B5F0-BB9DD51B5DC6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12A94FA0-A125-4F17-8D4D-C18D5E82F13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A556463-8867-4946-96F8-83E9A3CA4FCB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316AE863-9740-4DF5-AD59-739DC912A1F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8">
            <a:extLst>
              <a:ext uri="{FF2B5EF4-FFF2-40B4-BE49-F238E27FC236}">
                <a16:creationId xmlns="" xmlns:a16="http://schemas.microsoft.com/office/drawing/2014/main" id="{B6D1F4AD-73B3-47E2-B383-7D1831E73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40439D4D-D911-4E11-8FAF-A8D12F319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6C87179-66EB-4933-8347-327B2CCA10C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59632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A6DBE5EC-5366-4AF3-8274-88185A133E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1C2DA5F-9B79-490E-8592-B5681DB81218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="" xmlns:a16="http://schemas.microsoft.com/office/drawing/2014/main" id="{AF125F23-E85A-4F1A-94FE-C78B33CA0CCE}"/>
              </a:ext>
            </a:extLst>
          </p:cNvPr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086FC08B-3BE1-4665-8890-9BF4B3E348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7F6BC4A-9C84-41A5-AA77-316ED1465CF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171373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B87DF91F-FC1F-4E2A-A2E1-8CCE7C64D5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0D4ADA36-EDAA-4B48-98C3-BC91EEE9A01F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82F404F9-E1EC-4A04-9CDF-7F45EAC74A0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A1376DA-35FC-4366-BE25-0FD5DEE7311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A6655065-1718-4D38-9AF4-545E8CDEA78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DC23201A-EB9B-4211-8AD4-D060E82A36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3976174-492A-4581-BAC5-8E636FF6A763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642998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0D185456-4669-464A-86F6-7539DA5833C9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299F6562-697E-4940-80AE-BD373BB12FA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3CAD137-90D1-466C-8B4E-943714FF89D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DAEA515C-0E5B-4303-A6A6-CB6E002B663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9">
            <a:extLst>
              <a:ext uri="{FF2B5EF4-FFF2-40B4-BE49-F238E27FC236}">
                <a16:creationId xmlns="" xmlns:a16="http://schemas.microsoft.com/office/drawing/2014/main" id="{B428ACE1-E2A2-483A-851C-502B5065F9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10437AB4-6794-4ABA-86C0-453BFC04CB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59CA8EC-6135-4F9E-BDDE-8E5F959F1896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182286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E909EE2C-85BB-494B-BA58-9A92AD04B7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F49734C-2B53-487B-A769-05A5F5FF138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B370D657-EABD-4BC2-ABD1-1B7C83999D5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A87A5E6D-AFCF-4D3E-828D-FFC9313372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EB114A3-5E69-44A1-ABA6-C5863D4715E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414052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DC2B8ACA-427F-4845-853F-F71040075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DC2B8ACA-427F-4845-853F-F71040075D6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C428E706-D2CA-4B51-905D-F3574F05DD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5FD6063-984D-4169-9CED-B6DCA9FF547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1845DE55-7128-48DD-9743-A348748EBA0F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36975379-D05D-4F64-B5AF-6207914F925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C61C9556-F13B-466A-84A0-0EB661E58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97621CB-BEE2-4D17-B322-59D6958296D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886455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8F9FD069-883B-4367-A189-44A17892A1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Bubble">
            <a:extLst>
              <a:ext uri="{FF2B5EF4-FFF2-40B4-BE49-F238E27FC236}">
                <a16:creationId xmlns="" xmlns:a16="http://schemas.microsoft.com/office/drawing/2014/main" id="{1ABB2944-E41A-47C7-98FD-DDBCD90530E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115C72F3-3024-40D3-9A08-531C527E2E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" name="Right Triangle 55">
              <a:extLst>
                <a:ext uri="{FF2B5EF4-FFF2-40B4-BE49-F238E27FC236}">
                  <a16:creationId xmlns="" xmlns:a16="http://schemas.microsoft.com/office/drawing/2014/main" id="{C9050678-65E8-47D4-8DB8-43423C7861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" name="Page">
            <a:extLst>
              <a:ext uri="{FF2B5EF4-FFF2-40B4-BE49-F238E27FC236}">
                <a16:creationId xmlns="" xmlns:a16="http://schemas.microsoft.com/office/drawing/2014/main" id="{00DE37F0-A85E-41E9-B7E4-0389C08918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E4AC49E-2822-451A-8C20-31D60B39A36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8585873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6D3F2CDB-3A3B-454E-AE5A-EF573DAD99B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80DE11A-F677-4BA6-A781-40A31D3DEA3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8AD324E0-5B95-4464-A798-792EC3F703F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="" xmlns:a16="http://schemas.microsoft.com/office/drawing/2014/main" id="{5FF4FF53-85D9-499F-AF83-A207D062D2DF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7A037C2-3812-47AE-B181-E3B154277EE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711674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BE94A075-91FD-4336-91C4-182531658B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1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BE94A075-91FD-4336-91C4-182531658BD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1AA552B5-9B8E-4FDA-911D-DA7D258E297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9F8BCFD-CC38-4248-B86F-16DB77624A0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3E3CB3FD-1C52-46DB-B88B-FEB39B4EF76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FEBA89EC-B02E-489C-AD0F-B89E3BFF6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F4D21D8-10A5-4B62-B913-0656112834CA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051586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="" xmlns:a16="http://schemas.microsoft.com/office/drawing/2014/main" id="{4265E976-D76D-4C49-9CC6-EFC139FE8A7E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8C29A16-5446-4899-AE38-8586F75C6B5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="" xmlns:a16="http://schemas.microsoft.com/office/drawing/2014/main" id="{5CFC6D9F-E33D-4A04-81B4-334922EA94F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1">
            <a:extLst>
              <a:ext uri="{FF2B5EF4-FFF2-40B4-BE49-F238E27FC236}">
                <a16:creationId xmlns="" xmlns:a16="http://schemas.microsoft.com/office/drawing/2014/main" id="{459CE0EC-60D1-4717-A254-AA5CF5EC25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91856D0-A0EF-4DBC-A584-80E6BA16187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198932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5CD4DBD8-6070-46C4-9ED9-6E0B0D23BA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6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5CD4DBD8-6070-46C4-9ED9-6E0B0D23BA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2AF9B8AA-79E3-4179-8CAC-0CBCE49B0B5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A1ADDA4-25D8-405F-A487-61AAB20AFA1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5B445BDD-2A14-4C22-8971-5A56AE27E33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2054282480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7174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74E69162-8375-44B3-9D0A-B7A92528A3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C532CA2F-13FE-4891-BF16-DE3D1D1AFFD0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A70B2F11-E7FD-4640-8918-3CADD8F3BF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04D5FBB-C813-4A74-AE4B-0E4D3E4E7B6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1AE6560E-AEFC-4C3B-BB2E-E89BCF67D96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86A06D71-78A7-4C3E-A51C-FAF7EB375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BC720EB-96A2-4C9B-9D87-FECAF6B76C0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165004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8F54D516-940E-4205-AAB9-E71D48DEBC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1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8F54D516-940E-4205-AAB9-E71D48DEBC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E1CE3837-8B2B-4F21-96A3-F6A1E5B44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A885746-8255-4B2E-868A-8615E36497C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="" xmlns:a16="http://schemas.microsoft.com/office/drawing/2014/main" id="{7A0277A1-A90A-4975-B57C-D4627EA41A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52769" y="3921919"/>
            <a:ext cx="5133975" cy="96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EADE31C4-36FE-40A4-BE0C-80F04A31CEA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grpSp>
        <p:nvGrpSpPr>
          <p:cNvPr id="6" name="A4Grid">
            <a:extLst>
              <a:ext uri="{FF2B5EF4-FFF2-40B4-BE49-F238E27FC236}">
                <a16:creationId xmlns="" xmlns:a16="http://schemas.microsoft.com/office/drawing/2014/main" id="{1032E31C-BCA0-4590-B0B6-F70DAE4E770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>
              <a:extLst>
                <a:ext uri="{FF2B5EF4-FFF2-40B4-BE49-F238E27FC236}">
                  <a16:creationId xmlns="" xmlns:a16="http://schemas.microsoft.com/office/drawing/2014/main" id="{096B043C-617E-4F02-8CCD-42908370C4C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No-fly zone">
              <a:extLst>
                <a:ext uri="{FF2B5EF4-FFF2-40B4-BE49-F238E27FC236}">
                  <a16:creationId xmlns="" xmlns:a16="http://schemas.microsoft.com/office/drawing/2014/main" id="{2BF82564-8C5B-419D-8155-C4299822C3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="" xmlns:a16="http://schemas.microsoft.com/office/drawing/2014/main" id="{8821ED9B-7BD9-485D-80D8-0A050E99D0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="" xmlns:a16="http://schemas.microsoft.com/office/drawing/2014/main" id="{D685E1CC-9655-4720-AB81-DF0B9F02A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11" name="Gutter space">
              <a:extLst>
                <a:ext uri="{FF2B5EF4-FFF2-40B4-BE49-F238E27FC236}">
                  <a16:creationId xmlns="" xmlns:a16="http://schemas.microsoft.com/office/drawing/2014/main" id="{0BDE3EF7-EEBB-470B-9CDE-C9127A1A4774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>
                <a:extLst>
                  <a:ext uri="{FF2B5EF4-FFF2-40B4-BE49-F238E27FC236}">
                    <a16:creationId xmlns="" xmlns:a16="http://schemas.microsoft.com/office/drawing/2014/main" id="{97CAC340-F6C0-4CE5-9E00-07FFDD1A68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10">
                <a:extLst>
                  <a:ext uri="{FF2B5EF4-FFF2-40B4-BE49-F238E27FC236}">
                    <a16:creationId xmlns="" xmlns:a16="http://schemas.microsoft.com/office/drawing/2014/main" id="{D93AF497-461A-4DA4-8728-5134C15A52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9">
                <a:extLst>
                  <a:ext uri="{FF2B5EF4-FFF2-40B4-BE49-F238E27FC236}">
                    <a16:creationId xmlns="" xmlns:a16="http://schemas.microsoft.com/office/drawing/2014/main" id="{B70097A4-366F-4AC5-902C-9AE6D269C9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8">
                <a:extLst>
                  <a:ext uri="{FF2B5EF4-FFF2-40B4-BE49-F238E27FC236}">
                    <a16:creationId xmlns="" xmlns:a16="http://schemas.microsoft.com/office/drawing/2014/main" id="{BE5DB954-B656-4EF2-8FB0-0CD011CAF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7">
                <a:extLst>
                  <a:ext uri="{FF2B5EF4-FFF2-40B4-BE49-F238E27FC236}">
                    <a16:creationId xmlns="" xmlns:a16="http://schemas.microsoft.com/office/drawing/2014/main" id="{7FA8394C-2E3C-44FD-A961-12931D25A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6">
                <a:extLst>
                  <a:ext uri="{FF2B5EF4-FFF2-40B4-BE49-F238E27FC236}">
                    <a16:creationId xmlns="" xmlns:a16="http://schemas.microsoft.com/office/drawing/2014/main" id="{599D4083-C00E-4D46-B6DA-4CC5A940F8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5">
                <a:extLst>
                  <a:ext uri="{FF2B5EF4-FFF2-40B4-BE49-F238E27FC236}">
                    <a16:creationId xmlns="" xmlns:a16="http://schemas.microsoft.com/office/drawing/2014/main" id="{1513C94C-268B-4082-9B89-A858F60B88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4">
                <a:extLst>
                  <a:ext uri="{FF2B5EF4-FFF2-40B4-BE49-F238E27FC236}">
                    <a16:creationId xmlns="" xmlns:a16="http://schemas.microsoft.com/office/drawing/2014/main" id="{FBFEBAB8-F949-4DCE-B483-AF4C5DA830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3">
                <a:extLst>
                  <a:ext uri="{FF2B5EF4-FFF2-40B4-BE49-F238E27FC236}">
                    <a16:creationId xmlns="" xmlns:a16="http://schemas.microsoft.com/office/drawing/2014/main" id="{D41F4D3B-D78F-44C9-9271-031F5B7537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0" name="Gutter 2">
                <a:extLst>
                  <a:ext uri="{FF2B5EF4-FFF2-40B4-BE49-F238E27FC236}">
                    <a16:creationId xmlns="" xmlns:a16="http://schemas.microsoft.com/office/drawing/2014/main" id="{52C11C61-A68D-43DE-8F36-2A67F7A35F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1" name="Gutter 1">
                <a:extLst>
                  <a:ext uri="{FF2B5EF4-FFF2-40B4-BE49-F238E27FC236}">
                    <a16:creationId xmlns="" xmlns:a16="http://schemas.microsoft.com/office/drawing/2014/main" id="{9223F18D-552A-405B-BD2D-0FB9756E15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2" name="Baselines/Anchors">
              <a:extLst>
                <a:ext uri="{FF2B5EF4-FFF2-40B4-BE49-F238E27FC236}">
                  <a16:creationId xmlns="" xmlns:a16="http://schemas.microsoft.com/office/drawing/2014/main" id="{6360D614-E59B-4A76-8DA8-E1756D1EFFDB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>
                <a:extLst>
                  <a:ext uri="{FF2B5EF4-FFF2-40B4-BE49-F238E27FC236}">
                    <a16:creationId xmlns="" xmlns:a16="http://schemas.microsoft.com/office/drawing/2014/main" id="{AF460857-E221-4DA0-B2D4-64566EE2CB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9">
                <a:extLst>
                  <a:ext uri="{FF2B5EF4-FFF2-40B4-BE49-F238E27FC236}">
                    <a16:creationId xmlns="" xmlns:a16="http://schemas.microsoft.com/office/drawing/2014/main" id="{F2DC8B58-F2B3-44F5-BB2A-8D353DF106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8">
                <a:extLst>
                  <a:ext uri="{FF2B5EF4-FFF2-40B4-BE49-F238E27FC236}">
                    <a16:creationId xmlns="" xmlns:a16="http://schemas.microsoft.com/office/drawing/2014/main" id="{6531DC28-0A43-4A23-A292-A01C142B08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7">
                <a:extLst>
                  <a:ext uri="{FF2B5EF4-FFF2-40B4-BE49-F238E27FC236}">
                    <a16:creationId xmlns="" xmlns:a16="http://schemas.microsoft.com/office/drawing/2014/main" id="{D6A2F548-1F53-4007-A418-FBA08037EF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6">
                <a:extLst>
                  <a:ext uri="{FF2B5EF4-FFF2-40B4-BE49-F238E27FC236}">
                    <a16:creationId xmlns="" xmlns:a16="http://schemas.microsoft.com/office/drawing/2014/main" id="{C76DC1A0-BB7C-47D5-9B1C-52744EA2FC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5">
                <a:extLst>
                  <a:ext uri="{FF2B5EF4-FFF2-40B4-BE49-F238E27FC236}">
                    <a16:creationId xmlns="" xmlns:a16="http://schemas.microsoft.com/office/drawing/2014/main" id="{9E89A389-5C77-4E64-BEBB-EF964BB858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4">
                <a:extLst>
                  <a:ext uri="{FF2B5EF4-FFF2-40B4-BE49-F238E27FC236}">
                    <a16:creationId xmlns="" xmlns:a16="http://schemas.microsoft.com/office/drawing/2014/main" id="{1AB16DF6-9233-4892-97C9-AA1392817C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3">
                <a:extLst>
                  <a:ext uri="{FF2B5EF4-FFF2-40B4-BE49-F238E27FC236}">
                    <a16:creationId xmlns="" xmlns:a16="http://schemas.microsoft.com/office/drawing/2014/main" id="{18717A7A-F579-4160-90DD-E94CDDA769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2">
                <a:extLst>
                  <a:ext uri="{FF2B5EF4-FFF2-40B4-BE49-F238E27FC236}">
                    <a16:creationId xmlns="" xmlns:a16="http://schemas.microsoft.com/office/drawing/2014/main" id="{349F3918-E9C9-46A0-BBFB-EC3FB83E5D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="" xmlns:a16="http://schemas.microsoft.com/office/drawing/2014/main" id="{F3ACCF7A-6768-4C53-8E8D-DD11328AF1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="" xmlns:a16="http://schemas.microsoft.com/office/drawing/2014/main" id="{E53AC46A-2859-4635-9E41-48539B034E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9">
                <a:extLst>
                  <a:ext uri="{FF2B5EF4-FFF2-40B4-BE49-F238E27FC236}">
                    <a16:creationId xmlns="" xmlns:a16="http://schemas.microsoft.com/office/drawing/2014/main" id="{F44B0AF9-7AF3-45F8-953A-8001E759F1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8">
                <a:extLst>
                  <a:ext uri="{FF2B5EF4-FFF2-40B4-BE49-F238E27FC236}">
                    <a16:creationId xmlns="" xmlns:a16="http://schemas.microsoft.com/office/drawing/2014/main" id="{6FF49848-CC3C-4AFD-93F7-D37CD37EFD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7">
                <a:extLst>
                  <a:ext uri="{FF2B5EF4-FFF2-40B4-BE49-F238E27FC236}">
                    <a16:creationId xmlns="" xmlns:a16="http://schemas.microsoft.com/office/drawing/2014/main" id="{500DA3B1-1BAE-4F64-A462-BEB59CF0F6B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6">
                <a:extLst>
                  <a:ext uri="{FF2B5EF4-FFF2-40B4-BE49-F238E27FC236}">
                    <a16:creationId xmlns="" xmlns:a16="http://schemas.microsoft.com/office/drawing/2014/main" id="{9B2BF49A-2C99-499D-9C72-8473ABA998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5">
                <a:extLst>
                  <a:ext uri="{FF2B5EF4-FFF2-40B4-BE49-F238E27FC236}">
                    <a16:creationId xmlns="" xmlns:a16="http://schemas.microsoft.com/office/drawing/2014/main" id="{0ADEBC9D-976D-47E6-BC97-A0BAF9E386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4">
                <a:extLst>
                  <a:ext uri="{FF2B5EF4-FFF2-40B4-BE49-F238E27FC236}">
                    <a16:creationId xmlns="" xmlns:a16="http://schemas.microsoft.com/office/drawing/2014/main" id="{0278B9E9-333C-4911-BF7C-E4663B3980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3">
                <a:extLst>
                  <a:ext uri="{FF2B5EF4-FFF2-40B4-BE49-F238E27FC236}">
                    <a16:creationId xmlns="" xmlns:a16="http://schemas.microsoft.com/office/drawing/2014/main" id="{C09BDB33-D7AA-4B97-89C0-A935B78C4F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" name="Line 2">
                <a:extLst>
                  <a:ext uri="{FF2B5EF4-FFF2-40B4-BE49-F238E27FC236}">
                    <a16:creationId xmlns="" xmlns:a16="http://schemas.microsoft.com/office/drawing/2014/main" id="{25968760-C6F9-43B6-9B9E-1550657ADE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" name="Line 1">
                <a:extLst>
                  <a:ext uri="{FF2B5EF4-FFF2-40B4-BE49-F238E27FC236}">
                    <a16:creationId xmlns="" xmlns:a16="http://schemas.microsoft.com/office/drawing/2014/main" id="{23A03C9E-544F-4F91-B0A4-F3C466CA78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Five column measure">
              <a:extLst>
                <a:ext uri="{FF2B5EF4-FFF2-40B4-BE49-F238E27FC236}">
                  <a16:creationId xmlns="" xmlns:a16="http://schemas.microsoft.com/office/drawing/2014/main" id="{16C79252-6FCA-4DBD-BC54-5A686994217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>
                <a:extLst>
                  <a:ext uri="{FF2B5EF4-FFF2-40B4-BE49-F238E27FC236}">
                    <a16:creationId xmlns="" xmlns:a16="http://schemas.microsoft.com/office/drawing/2014/main" id="{0E0F8C07-6A62-43A2-96DD-C047509CB7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4">
                <a:extLst>
                  <a:ext uri="{FF2B5EF4-FFF2-40B4-BE49-F238E27FC236}">
                    <a16:creationId xmlns="" xmlns:a16="http://schemas.microsoft.com/office/drawing/2014/main" id="{4FD0B67C-5EAE-4AD0-978C-024477C7D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3">
                <a:extLst>
                  <a:ext uri="{FF2B5EF4-FFF2-40B4-BE49-F238E27FC236}">
                    <a16:creationId xmlns="" xmlns:a16="http://schemas.microsoft.com/office/drawing/2014/main" id="{3E7AAB00-30AD-4C58-865F-FCA44DBE0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9" name="Column 2">
                <a:extLst>
                  <a:ext uri="{FF2B5EF4-FFF2-40B4-BE49-F238E27FC236}">
                    <a16:creationId xmlns="" xmlns:a16="http://schemas.microsoft.com/office/drawing/2014/main" id="{614D042E-793A-4F5C-8B6C-73784B46C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20" name="Column 1">
                <a:extLst>
                  <a:ext uri="{FF2B5EF4-FFF2-40B4-BE49-F238E27FC236}">
                    <a16:creationId xmlns="" xmlns:a16="http://schemas.microsoft.com/office/drawing/2014/main" id="{7CE4FF8A-1E7B-4C02-A6CE-9C1EA2456C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4" name="Live space">
              <a:extLst>
                <a:ext uri="{FF2B5EF4-FFF2-40B4-BE49-F238E27FC236}">
                  <a16:creationId xmlns="" xmlns:a16="http://schemas.microsoft.com/office/drawing/2014/main" id="{EBCEAF58-B61D-45E6-8EB5-183CEB11FDE9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="" xmlns:a16="http://schemas.microsoft.com/office/drawing/2014/main" id="{AC031EB0-4ACB-4E0A-A67E-E8FF9BCDAD49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A6A6A6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2" name="Date Placeholder 1">
            <a:extLst>
              <a:ext uri="{FF2B5EF4-FFF2-40B4-BE49-F238E27FC236}">
                <a16:creationId xmlns="" xmlns:a16="http://schemas.microsoft.com/office/drawing/2014/main" id="{970B7A4E-33E5-4C6A-8D29-3A5C370E4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45B3553-6CAE-441B-A62C-2ED29F77978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834633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="" xmlns:a16="http://schemas.microsoft.com/office/drawing/2014/main" id="{7E6CA40B-60C3-477F-B1CD-9DB3A3C849DD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="" xmlns:a16="http://schemas.microsoft.com/office/drawing/2014/main" id="{FE65819C-C0A4-4CD6-B546-566FAEB2F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8AC64833-DD12-496B-8096-FB2987E3D4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="" xmlns:a16="http://schemas.microsoft.com/office/drawing/2014/main" id="{5EC15882-8FD6-4F06-B086-90E56B198A85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="" xmlns:a16="http://schemas.microsoft.com/office/drawing/2014/main" id="{A1F9F3A2-8B73-4F86-829E-D75475056F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="" xmlns:a16="http://schemas.microsoft.com/office/drawing/2014/main" id="{CAF02EFE-9F68-4BB8-9966-1B0F96A510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186753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507E556F-F9BD-4525-A182-A3C5B23CA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6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507E556F-F9BD-4525-A182-A3C5B23CA13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8270776A-40B1-4D7C-A2EF-B633A676152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E5A70D5-E43B-4CF6-9333-6B788A722FD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CDE59570-DA41-4BCE-A172-27EF28F9277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="" xmlns:a16="http://schemas.microsoft.com/office/drawing/2014/main" id="{3DDB6545-843A-4B57-BDE3-846224903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73FFC65-81B6-4587-9782-FD22321081A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707560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C22CEED0-474A-4702-A546-1ECF09496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8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C22CEED0-474A-4702-A546-1ECF09496F7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="" xmlns:a16="http://schemas.microsoft.com/office/drawing/2014/main" id="{0108AA64-3E48-4D34-A40F-FEC1645DC4E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DF8C2CE-53AB-413A-B2E8-E4B4F0335E0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PanelGray">
            <a:extLst>
              <a:ext uri="{FF2B5EF4-FFF2-40B4-BE49-F238E27FC236}">
                <a16:creationId xmlns="" xmlns:a16="http://schemas.microsoft.com/office/drawing/2014/main" id="{2D49A7DA-D7FA-4121-9746-8FF375B7F456}"/>
              </a:ext>
            </a:extLst>
          </p:cNvPr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A49B765C-2B43-4B11-B047-1451987E7D9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="" xmlns:a16="http://schemas.microsoft.com/office/drawing/2014/main" id="{D10F5F73-8179-4075-9AD2-DA5A29015D0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6BD64E3-4362-46FF-AD39-3C9A432D7F1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169563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36D252F1-BD55-4F1C-B58B-B24CDD61EB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0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36D252F1-BD55-4F1C-B58B-B24CDD61EB8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AF4BFFD7-9FC3-4B3C-B21B-25E883AB46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97617F9-156A-4517-89B0-1729F429EB7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18EFECDE-2064-497E-8EF6-4A6D0EC298AE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56AD2458-B09F-4359-8821-85FE08D7513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8">
            <a:extLst>
              <a:ext uri="{FF2B5EF4-FFF2-40B4-BE49-F238E27FC236}">
                <a16:creationId xmlns="" xmlns:a16="http://schemas.microsoft.com/office/drawing/2014/main" id="{0A6CBBF9-1878-4545-B6E5-6E72E1729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6949197-A9F6-4980-A800-66909454D92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235992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773B8DB9-B63B-4947-943F-B3D0DEBBC0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53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773B8DB9-B63B-4947-943F-B3D0DEBBC02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C28AB243-C929-4510-B6AF-C014BC03986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65D2304-E1CD-4FB3-8D4D-76A179B744B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Line">
            <a:extLst>
              <a:ext uri="{FF2B5EF4-FFF2-40B4-BE49-F238E27FC236}">
                <a16:creationId xmlns="" xmlns:a16="http://schemas.microsoft.com/office/drawing/2014/main" id="{3FD173CD-3B85-45C6-B6FA-715E48D69836}"/>
              </a:ext>
            </a:extLst>
          </p:cNvPr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8">
            <a:extLst>
              <a:ext uri="{FF2B5EF4-FFF2-40B4-BE49-F238E27FC236}">
                <a16:creationId xmlns="" xmlns:a16="http://schemas.microsoft.com/office/drawing/2014/main" id="{AAA3B3C0-4BBC-44AE-BECA-CED54D89B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E8039D5-0B23-4EA5-BA8A-CF8F3EB63C52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998210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BD04B2BB-BD30-483A-9962-96F3D48EF2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5C5B0018-DC49-4ABD-8FF1-584558C4F14A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84FD4CBE-7069-41E2-816D-E66185C5796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A47AA8F-5733-442D-840C-A8D1FF9C818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F0F93C64-DD0B-4541-A2DD-4CD61A7579D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280D44AA-E525-499E-A736-39D6DCFC2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967590F-8E45-42DB-8BA1-AD3BA97E5466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449341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1318E6D6-F991-45C2-8B37-AB62F7DBDC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A0912D30-3EDC-4C8B-A7E6-C7CD2B543293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BE4567B-6974-4AD0-B8DD-1A93EBB81D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41FDCDB-31DC-4C4E-BB67-F6EB46B8159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E6B2A12-AB84-4FCC-8584-08EB3F0B505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78399C24-F3E9-4001-A3FA-20E270964E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22D182B-1F44-400D-BEA5-47036269580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442855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EE8D29D7-CB1E-4D04-ADE2-67D843B5D00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232F97D-1FAF-4B36-B49E-64FD540800E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Shadow">
            <a:extLst>
              <a:ext uri="{FF2B5EF4-FFF2-40B4-BE49-F238E27FC236}">
                <a16:creationId xmlns="" xmlns:a16="http://schemas.microsoft.com/office/drawing/2014/main" id="{134CB4F6-F654-4D60-962E-D2A361EF01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7B75A7D6-CE0B-4B4E-90A4-9E20BB5D12B3}"/>
              </a:ext>
            </a:extLst>
          </p:cNvPr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9E57BC09-76C8-412F-954C-D0AF64BB4B6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2AC7C4BF-44B6-4189-85D2-CBD6498539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B942C9C-3FCD-4444-8EF3-9980C632A042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555413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B566DAD4-609D-4251-BADA-78B05ECAC3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B30A9EF8-69B0-4819-944A-2476709D1AA6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4AFFB6A9-41AC-443D-A48F-B4A0282F046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FB49918-5A13-46FE-AFCE-256368AD93F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862C8EA-F692-479C-B4CA-B09D113AB36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3AF8F2DA-4131-4A12-9329-BDB5CE134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C935475-929F-41F7-BE99-4A63BC46BBB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50865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DCAC4B0E-92C7-4A60-BDCD-F93653A04B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D3E5F393-5F18-4041-A1A2-58F0752FA185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BB39B9D2-42C7-41A5-9906-FE6368FBF0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5C16929-E2AA-4E36-9079-F53011DD672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86A8446B-31B0-48C7-9582-7D239DAA0A5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836B9465-1DEF-497B-88D6-069D9CBBFF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8516907-21E4-47DB-BE4D-5FE3DEEA489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129657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E0A83642-9B6A-452F-9E9F-C7B048C8ED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70E193F7-4659-4919-A5A3-A1A097362CD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6ACE9E6B-F1FC-4E27-A931-21B9BC5A4A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C4AB6BB-D469-4857-975A-D7999FBA264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2B4C512B-3C0C-410A-A928-DAA3F107C6A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A97E774B-FCA2-4067-89EE-F5E4B5A61B0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C0DE84F-8FA7-46FD-B7AB-4E28B9617A6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990954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B1D3B9F6-1699-4FB3-9BAB-3E1D0DE4BF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D5A879AF-CD65-40B0-9894-1F5F5CE8EEB3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609AB59F-3C61-4526-83EB-F63E54BA7F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F325CA1-8A13-499C-ADD9-E1A5BD6D499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0BB78493-8B43-4BC3-93A2-DC439A7A195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DD084D3D-5230-4AB7-A4DE-F9857699C9F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F640273-8EB5-49CB-9E2C-75B3D798446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143299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46540E4E-C628-468E-8A85-CF1FEF5498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C025131A-F134-4739-9076-3309A31BB65C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1A3156A5-58EA-474E-B12F-047BD39D7D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8202770-92CF-431F-8165-A82E7925CB0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79FC7076-91D1-4C40-9873-6A472E07AF3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082BA3FB-D248-4DA4-AC1B-0346B6615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7E019AC-6A8F-4A0F-B7A7-F26F44CA2C0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350812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CB3A36FF-A548-4326-A3D9-0866BF14CFFA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0BB6A9D0-2016-46E0-B4B0-786CB7DDFCF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5E0C024-C825-46AF-ACBE-3D231392797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C9B0DDA-6AD5-499F-B82F-9D25CD16364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="" xmlns:a16="http://schemas.microsoft.com/office/drawing/2014/main" id="{EDC3C260-BFC8-47F9-A1FC-CA3EC022BC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F913BF9F-7C6B-4753-B6BB-680416A18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1246DD7-6BA7-4790-A53C-1360362F1672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03654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38C00831-F374-4102-9C82-4E38E2195D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C96AF4B9-B08C-42B6-B49A-BAB1A6BEC7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8EB71159-724A-4717-9824-C3910C0FC72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FCC706C-8F71-40DB-AAC9-FE92F5FFEC9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9D1BC64E-B9E3-4C72-BD3C-193AFE3D05D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39DDE702-6238-4B6C-9A43-8632CEBE72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17C7AC7-78C2-481A-B365-582E2990B3F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514652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0751C7AE-C249-4FF0-8261-85CF5BCBEF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B0F95480-E9E0-4CB7-8DEF-A9B4D694A2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60240BD-CDF1-45E3-A532-8AEB42BFE4F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2A65B618-C95E-43BD-AB1C-03CA19D530E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27D29AFE-3127-4C96-836E-DFF41AAF0F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C50B9E19-FD9D-4650-B8A5-323D79E36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367A59A-2CA4-4873-8B93-BA5CA740D3B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747026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3E940221-5AD5-496F-A39D-30B59907B5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3E940221-5AD5-496F-A39D-30B59907B55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Shadow">
            <a:extLst>
              <a:ext uri="{FF2B5EF4-FFF2-40B4-BE49-F238E27FC236}">
                <a16:creationId xmlns="" xmlns:a16="http://schemas.microsoft.com/office/drawing/2014/main" id="{0C924A77-5E5A-4D69-BD6F-0A135FA2A9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rowPanelWhite">
            <a:extLst>
              <a:ext uri="{FF2B5EF4-FFF2-40B4-BE49-F238E27FC236}">
                <a16:creationId xmlns="" xmlns:a16="http://schemas.microsoft.com/office/drawing/2014/main" id="{77C0A91B-AC26-4BE6-AD26-A32B17CB7579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>
            <a:extLst>
              <a:ext uri="{FF2B5EF4-FFF2-40B4-BE49-F238E27FC236}">
                <a16:creationId xmlns="" xmlns:a16="http://schemas.microsoft.com/office/drawing/2014/main" id="{83701770-3E60-4A3A-A105-CF6C5497D6D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FB051FF-BC5E-4DD0-9A28-AE33F421192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ooterSimple" hidden="1">
            <a:extLst>
              <a:ext uri="{FF2B5EF4-FFF2-40B4-BE49-F238E27FC236}">
                <a16:creationId xmlns="" xmlns:a16="http://schemas.microsoft.com/office/drawing/2014/main" id="{0641312B-07C6-4AF5-B986-7029DD5FD34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="" xmlns:a16="http://schemas.microsoft.com/office/drawing/2014/main" id="{A2466129-450F-44C1-8815-989E40635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4DA50D5-BBA9-44FF-A229-7DC2CFE684F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37713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FCB1A115-8929-46DD-8593-CDCC4F7321EB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3AD57FFC-C8CE-4F57-ABB0-C1553726E85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8384F8D-9F16-4971-8D69-0AD1CB3C713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FDA7546D-A04C-47F7-A3B6-40F8524B71A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="" xmlns:a16="http://schemas.microsoft.com/office/drawing/2014/main" id="{5EDD0FEE-ADA8-4907-9B7C-E0DFF10337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9CCDCE71-9592-4133-A940-03C8A3092E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95599B3-EA96-4FEE-96C2-C35AEF8A82A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34330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CACA137D-9B38-488A-A782-5486EB35E43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B63C6A25-F8AC-4A1B-8535-7D5DC49BEE56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5306F1AD-2126-426F-9CC7-A5481E8EBAE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3EBCB1C-1A64-4EC0-97D0-E86CD770491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2311299-5F98-4668-B37D-2C4ACFF7B6E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BD070D90-5D96-48A5-B745-78E605B06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A415AE1-0C4E-4217-AAFF-3AE71C969B4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550804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9367303D-DF93-4291-8E7F-E76D6A069415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1A77B7F1-3A10-4C83-96C8-48F1226DA8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56F3E84-4190-4009-85E8-7714FEE7E45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53A09D20-7829-4BAE-B2D8-AB94D8D1002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7">
            <a:extLst>
              <a:ext uri="{FF2B5EF4-FFF2-40B4-BE49-F238E27FC236}">
                <a16:creationId xmlns="" xmlns:a16="http://schemas.microsoft.com/office/drawing/2014/main" id="{E2C168B1-9B6A-4D45-BF0E-D4700C939E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846773D7-930E-48E6-A58F-70BF8E6C2C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D6605FD-E652-4B48-9A32-71B44982D42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81063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262E1839-AED3-4C9F-A34F-2A32C6DE93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AE5D808B-53BF-44F8-802A-435341460BAB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91C46BBC-CE54-44BF-A56F-3D98754DB4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B03B22B-6FE8-4F63-92FE-F23532E2A20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93E55920-67B6-43BE-A5DD-799DC270ED0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4B1E2EB5-86C8-4643-B7EE-2323CD126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8514689-94AE-4460-966F-545F5D376F1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621826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D506CC57-CB73-4C21-AA18-4CBAE500903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B85734F-A3F3-4DE4-B4F7-0C876AE2FC5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363B9765-068B-4EF6-9D62-7698919D909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43B0AC23-73E8-42F4-ADFA-7A4562B20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0903231-81FB-40C9-86EB-DC0A0EEF7F1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684053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02C75205-3773-4CA1-9499-0E988E90ED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1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02C75205-3773-4CA1-9499-0E988E90ED7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AA46A775-C0D4-400D-B906-37497A7732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D3A2FFA-8B6B-48FD-85FF-9EFA1C9D9BB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CFB0E8B5-F74C-49B0-88E7-75BD549D7323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CECA139F-C161-425D-9C74-54037EB8AAF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3BB7D157-CD68-4FAD-B9F3-5AD1A2548A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76D356E-901E-4A58-8E52-E9F811C5573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334926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06D77B46-B427-47BF-A8DA-D37532731C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age">
            <a:extLst>
              <a:ext uri="{FF2B5EF4-FFF2-40B4-BE49-F238E27FC236}">
                <a16:creationId xmlns="" xmlns:a16="http://schemas.microsoft.com/office/drawing/2014/main" id="{83177034-2B13-446B-8893-A88057B3C74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A3F162B-FB57-419C-948A-9E0008EDD30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Bubble">
            <a:extLst>
              <a:ext uri="{FF2B5EF4-FFF2-40B4-BE49-F238E27FC236}">
                <a16:creationId xmlns="" xmlns:a16="http://schemas.microsoft.com/office/drawing/2014/main" id="{706336C4-5F7B-4D31-A634-7A5245A01B1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5" name="Rectangle 9">
              <a:extLst>
                <a:ext uri="{FF2B5EF4-FFF2-40B4-BE49-F238E27FC236}">
                  <a16:creationId xmlns="" xmlns:a16="http://schemas.microsoft.com/office/drawing/2014/main" id="{2CDC3468-6075-482B-AB61-30B7E62E59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" name="Right Triangle 10">
              <a:extLst>
                <a:ext uri="{FF2B5EF4-FFF2-40B4-BE49-F238E27FC236}">
                  <a16:creationId xmlns="" xmlns:a16="http://schemas.microsoft.com/office/drawing/2014/main" id="{3D2CF36C-14FF-4B6A-B68D-11396F9C83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6AE24993-84AE-431F-9E65-4DC36E36A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CD34D81-4F69-44F5-9F0C-738AF0F84C96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10326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181F4C06-37E5-4FAB-AFAD-955923D14B44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48F8CBD-F911-4C2E-8340-83E0856B9AD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3D83085F-242E-4104-9B20-FFB8067D390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2">
            <a:extLst>
              <a:ext uri="{FF2B5EF4-FFF2-40B4-BE49-F238E27FC236}">
                <a16:creationId xmlns="" xmlns:a16="http://schemas.microsoft.com/office/drawing/2014/main" id="{6E7B770E-D8E5-4C7A-81A9-642273BAB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7E0E4A3-F7B9-4D82-AF87-3376A6B0B22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975791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B18322E1-DFDF-47A7-B9B0-4A5F6F9ECF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D74FBF9A-0E84-4220-811F-1CEC311E57BD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CE5BF3D5-83B6-4C4F-A4A7-14ACF00F75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2A0CAD2-CC24-49ED-ADDD-A6B222A7E5E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="" xmlns:a16="http://schemas.microsoft.com/office/drawing/2014/main" id="{263D44D4-2E57-429B-9823-493F9C29CE9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87DCA586-1C8A-4505-880A-003D58ACDAA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0E54DB52-DFB4-40B3-B92F-BC92F32A64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55EC5B2-E7EA-44CA-AD3A-621A2D4B4CD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672995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="" xmlns:a16="http://schemas.microsoft.com/office/drawing/2014/main" id="{E747749D-22A2-467A-8070-42296A0F03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233613B-2E69-4946-88AC-A0B73DA7179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="" xmlns:a16="http://schemas.microsoft.com/office/drawing/2014/main" id="{D31C768D-5DB7-4C49-AF9D-9895FDE1084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4">
            <a:extLst>
              <a:ext uri="{FF2B5EF4-FFF2-40B4-BE49-F238E27FC236}">
                <a16:creationId xmlns="" xmlns:a16="http://schemas.microsoft.com/office/drawing/2014/main" id="{A4B96F15-E777-4C00-8E76-D03880E9DA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7CDFEBB-DC0A-47DE-85C8-64CA8EC20E8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467210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A25EBB8A-56BF-448A-8B28-8392060C3B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A25EBB8A-56BF-448A-8B28-8392060C3BD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537D13F6-1310-4F7A-9B50-36BF19BF4E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CBC1FB5-6A7C-4BF6-86CF-CD704821F5A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FE07F536-D72B-4260-9180-C6BAAC2C6BA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6">
            <a:extLst>
              <a:ext uri="{FF2B5EF4-FFF2-40B4-BE49-F238E27FC236}">
                <a16:creationId xmlns="" xmlns:a16="http://schemas.microsoft.com/office/drawing/2014/main" id="{EFAE996D-DFCC-4C66-BE75-3D03CADB51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69C08CE-6406-4876-8418-5B395530661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142485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B022F0FB-7D3D-4C23-90D8-48E498166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6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B022F0FB-7D3D-4C23-90D8-48E498166F7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8E828D8E-58DF-4A49-8B0B-9C1C3253F1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C2C5C3E-942E-4BB8-AD70-D7A23AF7BEC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EB06A2A3-C3D5-46EA-84C5-322F446CA7C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3461161141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7992951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B84D04CE-5F8F-43C6-8C1A-87AE95F199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0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B84D04CE-5F8F-43C6-8C1A-87AE95F199C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7136E8F9-D60F-4C99-A2C7-D185294B86C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8BDFE2F-8BF0-4BC6-BD0E-033297DDA52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A4Grid">
            <a:extLst>
              <a:ext uri="{FF2B5EF4-FFF2-40B4-BE49-F238E27FC236}">
                <a16:creationId xmlns="" xmlns:a16="http://schemas.microsoft.com/office/drawing/2014/main" id="{37DE3AA3-01F9-48AB-8CBD-265BB97EEF3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" name="Slide edges">
              <a:extLst>
                <a:ext uri="{FF2B5EF4-FFF2-40B4-BE49-F238E27FC236}">
                  <a16:creationId xmlns="" xmlns:a16="http://schemas.microsoft.com/office/drawing/2014/main" id="{FABB2B5F-231F-4423-AEA4-1ECEB2ED63D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6" name="No-fly zone">
              <a:extLst>
                <a:ext uri="{FF2B5EF4-FFF2-40B4-BE49-F238E27FC236}">
                  <a16:creationId xmlns="" xmlns:a16="http://schemas.microsoft.com/office/drawing/2014/main" id="{6379C9D0-6A92-42F8-9ABD-EAE365156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="" xmlns:a16="http://schemas.microsoft.com/office/drawing/2014/main" id="{641462AA-BEDD-405E-872B-AD56F9AFF3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="" xmlns:a16="http://schemas.microsoft.com/office/drawing/2014/main" id="{533A95C1-4376-4D1D-9110-C20111190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9" name="Gutter space">
              <a:extLst>
                <a:ext uri="{FF2B5EF4-FFF2-40B4-BE49-F238E27FC236}">
                  <a16:creationId xmlns="" xmlns:a16="http://schemas.microsoft.com/office/drawing/2014/main" id="{7399500A-C581-4BD9-956F-9C21342C638B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39" name="Gutter 11">
                <a:extLst>
                  <a:ext uri="{FF2B5EF4-FFF2-40B4-BE49-F238E27FC236}">
                    <a16:creationId xmlns="" xmlns:a16="http://schemas.microsoft.com/office/drawing/2014/main" id="{01C8450A-1B56-41C3-9E91-568F3CED32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0" name="Gutter 10">
                <a:extLst>
                  <a:ext uri="{FF2B5EF4-FFF2-40B4-BE49-F238E27FC236}">
                    <a16:creationId xmlns="" xmlns:a16="http://schemas.microsoft.com/office/drawing/2014/main" id="{6621E829-A214-441C-AE41-469C3DB4EF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1" name="Gutter 9">
                <a:extLst>
                  <a:ext uri="{FF2B5EF4-FFF2-40B4-BE49-F238E27FC236}">
                    <a16:creationId xmlns="" xmlns:a16="http://schemas.microsoft.com/office/drawing/2014/main" id="{C7300D6A-087E-43B8-A1FF-306BEC2415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8">
                <a:extLst>
                  <a:ext uri="{FF2B5EF4-FFF2-40B4-BE49-F238E27FC236}">
                    <a16:creationId xmlns="" xmlns:a16="http://schemas.microsoft.com/office/drawing/2014/main" id="{44786630-B6FC-4B8B-A642-0766134BCE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7">
                <a:extLst>
                  <a:ext uri="{FF2B5EF4-FFF2-40B4-BE49-F238E27FC236}">
                    <a16:creationId xmlns="" xmlns:a16="http://schemas.microsoft.com/office/drawing/2014/main" id="{0E7DBE6D-4892-43EE-BE67-3293F9B0AF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6">
                <a:extLst>
                  <a:ext uri="{FF2B5EF4-FFF2-40B4-BE49-F238E27FC236}">
                    <a16:creationId xmlns="" xmlns:a16="http://schemas.microsoft.com/office/drawing/2014/main" id="{F03D0E15-3ACF-4316-BDA3-1E8E966E78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5">
                <a:extLst>
                  <a:ext uri="{FF2B5EF4-FFF2-40B4-BE49-F238E27FC236}">
                    <a16:creationId xmlns="" xmlns:a16="http://schemas.microsoft.com/office/drawing/2014/main" id="{3BC852FD-A5A3-47F2-9DBF-C91F16CA1B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4">
                <a:extLst>
                  <a:ext uri="{FF2B5EF4-FFF2-40B4-BE49-F238E27FC236}">
                    <a16:creationId xmlns="" xmlns:a16="http://schemas.microsoft.com/office/drawing/2014/main" id="{890F2AD2-96D9-47E7-91F1-119C2424C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3">
                <a:extLst>
                  <a:ext uri="{FF2B5EF4-FFF2-40B4-BE49-F238E27FC236}">
                    <a16:creationId xmlns="" xmlns:a16="http://schemas.microsoft.com/office/drawing/2014/main" id="{0518457E-6A9E-4641-A40F-C79DFEA3B4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2">
                <a:extLst>
                  <a:ext uri="{FF2B5EF4-FFF2-40B4-BE49-F238E27FC236}">
                    <a16:creationId xmlns="" xmlns:a16="http://schemas.microsoft.com/office/drawing/2014/main" id="{FD8EDC2F-5846-405A-A9D5-11CBF7ECC8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1">
                <a:extLst>
                  <a:ext uri="{FF2B5EF4-FFF2-40B4-BE49-F238E27FC236}">
                    <a16:creationId xmlns="" xmlns:a16="http://schemas.microsoft.com/office/drawing/2014/main" id="{4D03A0A0-CB4F-4C16-A72E-D825C4569F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Baselines/Anchors">
              <a:extLst>
                <a:ext uri="{FF2B5EF4-FFF2-40B4-BE49-F238E27FC236}">
                  <a16:creationId xmlns="" xmlns:a16="http://schemas.microsoft.com/office/drawing/2014/main" id="{1C5AC810-E834-4D70-AAFA-AE99731B85F4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19" name="Line 20">
                <a:extLst>
                  <a:ext uri="{FF2B5EF4-FFF2-40B4-BE49-F238E27FC236}">
                    <a16:creationId xmlns="" xmlns:a16="http://schemas.microsoft.com/office/drawing/2014/main" id="{E2184A09-FCDA-4EEA-AAC4-6F55A9D035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="" xmlns:a16="http://schemas.microsoft.com/office/drawing/2014/main" id="{E91AE0F6-A928-49AA-913C-328A5E15EE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Line 18">
                <a:extLst>
                  <a:ext uri="{FF2B5EF4-FFF2-40B4-BE49-F238E27FC236}">
                    <a16:creationId xmlns="" xmlns:a16="http://schemas.microsoft.com/office/drawing/2014/main" id="{97A8783C-A4AA-4055-9F70-18E55F5C1C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7">
                <a:extLst>
                  <a:ext uri="{FF2B5EF4-FFF2-40B4-BE49-F238E27FC236}">
                    <a16:creationId xmlns="" xmlns:a16="http://schemas.microsoft.com/office/drawing/2014/main" id="{55CA698B-94BD-4204-BB52-2B29BE254C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6">
                <a:extLst>
                  <a:ext uri="{FF2B5EF4-FFF2-40B4-BE49-F238E27FC236}">
                    <a16:creationId xmlns="" xmlns:a16="http://schemas.microsoft.com/office/drawing/2014/main" id="{40CBD9FE-D820-4B91-A659-CC13FDD733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5">
                <a:extLst>
                  <a:ext uri="{FF2B5EF4-FFF2-40B4-BE49-F238E27FC236}">
                    <a16:creationId xmlns="" xmlns:a16="http://schemas.microsoft.com/office/drawing/2014/main" id="{E7683DEB-2528-40DB-B280-4F821D87F3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4">
                <a:extLst>
                  <a:ext uri="{FF2B5EF4-FFF2-40B4-BE49-F238E27FC236}">
                    <a16:creationId xmlns="" xmlns:a16="http://schemas.microsoft.com/office/drawing/2014/main" id="{534EF89F-F974-46C3-8B84-79EA1805C5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3">
                <a:extLst>
                  <a:ext uri="{FF2B5EF4-FFF2-40B4-BE49-F238E27FC236}">
                    <a16:creationId xmlns="" xmlns:a16="http://schemas.microsoft.com/office/drawing/2014/main" id="{737B01B3-9735-43EE-BBCA-3B0900D216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2">
                <a:extLst>
                  <a:ext uri="{FF2B5EF4-FFF2-40B4-BE49-F238E27FC236}">
                    <a16:creationId xmlns="" xmlns:a16="http://schemas.microsoft.com/office/drawing/2014/main" id="{E1BCB6D1-CB4E-4024-87F3-3EB2333F41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1">
                <a:extLst>
                  <a:ext uri="{FF2B5EF4-FFF2-40B4-BE49-F238E27FC236}">
                    <a16:creationId xmlns="" xmlns:a16="http://schemas.microsoft.com/office/drawing/2014/main" id="{12F552D9-C837-4F9A-8E3D-B2F41C0E5B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="" xmlns:a16="http://schemas.microsoft.com/office/drawing/2014/main" id="{3F4B6C27-ACAA-484F-BF89-AAB7975940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="" xmlns:a16="http://schemas.microsoft.com/office/drawing/2014/main" id="{2E90B2A0-0C21-4AF6-B3A5-B26516E99A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8">
                <a:extLst>
                  <a:ext uri="{FF2B5EF4-FFF2-40B4-BE49-F238E27FC236}">
                    <a16:creationId xmlns="" xmlns:a16="http://schemas.microsoft.com/office/drawing/2014/main" id="{CD3F22DF-C8A7-48E5-B8BA-8C53751034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7">
                <a:extLst>
                  <a:ext uri="{FF2B5EF4-FFF2-40B4-BE49-F238E27FC236}">
                    <a16:creationId xmlns="" xmlns:a16="http://schemas.microsoft.com/office/drawing/2014/main" id="{E9B1F6BF-C1E9-4C5A-B78C-0A512D54E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6">
                <a:extLst>
                  <a:ext uri="{FF2B5EF4-FFF2-40B4-BE49-F238E27FC236}">
                    <a16:creationId xmlns="" xmlns:a16="http://schemas.microsoft.com/office/drawing/2014/main" id="{2F5AB3FF-40F2-4FFF-BAAC-9E9796393F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5">
                <a:extLst>
                  <a:ext uri="{FF2B5EF4-FFF2-40B4-BE49-F238E27FC236}">
                    <a16:creationId xmlns="" xmlns:a16="http://schemas.microsoft.com/office/drawing/2014/main" id="{3691344F-1AD9-4026-B038-E0E2EBE7A8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4">
                <a:extLst>
                  <a:ext uri="{FF2B5EF4-FFF2-40B4-BE49-F238E27FC236}">
                    <a16:creationId xmlns="" xmlns:a16="http://schemas.microsoft.com/office/drawing/2014/main" id="{32AF0420-7D3B-40A6-A78B-44AFF5ABA1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3">
                <a:extLst>
                  <a:ext uri="{FF2B5EF4-FFF2-40B4-BE49-F238E27FC236}">
                    <a16:creationId xmlns="" xmlns:a16="http://schemas.microsoft.com/office/drawing/2014/main" id="{BDDC526E-AFBB-48A4-80E8-F6859B2022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2">
                <a:extLst>
                  <a:ext uri="{FF2B5EF4-FFF2-40B4-BE49-F238E27FC236}">
                    <a16:creationId xmlns="" xmlns:a16="http://schemas.microsoft.com/office/drawing/2014/main" id="{5DE3AE30-8FF8-489A-98C0-21613B0C40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1">
                <a:extLst>
                  <a:ext uri="{FF2B5EF4-FFF2-40B4-BE49-F238E27FC236}">
                    <a16:creationId xmlns="" xmlns:a16="http://schemas.microsoft.com/office/drawing/2014/main" id="{41CFC52E-05B9-456F-A05C-4264198935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Five column measure">
              <a:extLst>
                <a:ext uri="{FF2B5EF4-FFF2-40B4-BE49-F238E27FC236}">
                  <a16:creationId xmlns="" xmlns:a16="http://schemas.microsoft.com/office/drawing/2014/main" id="{BD71B08A-0A5F-4650-B477-8E2DC0379DBA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4" name="Column 5">
                <a:extLst>
                  <a:ext uri="{FF2B5EF4-FFF2-40B4-BE49-F238E27FC236}">
                    <a16:creationId xmlns="" xmlns:a16="http://schemas.microsoft.com/office/drawing/2014/main" id="{73FE16A8-B45E-4AA4-863F-7767C94B4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5" name="Column 4">
                <a:extLst>
                  <a:ext uri="{FF2B5EF4-FFF2-40B4-BE49-F238E27FC236}">
                    <a16:creationId xmlns="" xmlns:a16="http://schemas.microsoft.com/office/drawing/2014/main" id="{48C6E9A9-26CC-4D82-84D9-AAB6EE476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6" name="Column 3">
                <a:extLst>
                  <a:ext uri="{FF2B5EF4-FFF2-40B4-BE49-F238E27FC236}">
                    <a16:creationId xmlns="" xmlns:a16="http://schemas.microsoft.com/office/drawing/2014/main" id="{38318007-3F0B-482B-B465-A25501AF7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2">
                <a:extLst>
                  <a:ext uri="{FF2B5EF4-FFF2-40B4-BE49-F238E27FC236}">
                    <a16:creationId xmlns="" xmlns:a16="http://schemas.microsoft.com/office/drawing/2014/main" id="{DA33DB6C-69E9-47B0-96B2-4394DE59A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1">
                <a:extLst>
                  <a:ext uri="{FF2B5EF4-FFF2-40B4-BE49-F238E27FC236}">
                    <a16:creationId xmlns="" xmlns:a16="http://schemas.microsoft.com/office/drawing/2014/main" id="{364337AC-ACB8-4068-B775-EE9EC8FCF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2" name="Live space">
              <a:extLst>
                <a:ext uri="{FF2B5EF4-FFF2-40B4-BE49-F238E27FC236}">
                  <a16:creationId xmlns="" xmlns:a16="http://schemas.microsoft.com/office/drawing/2014/main" id="{26033D4B-5FC4-453E-AD29-5E42471C15C5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="" xmlns:a16="http://schemas.microsoft.com/office/drawing/2014/main" id="{4A92570D-02E5-44C5-B3E0-E6BCC4C1B95A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0" name="FooterSimple" hidden="1">
            <a:extLst>
              <a:ext uri="{FF2B5EF4-FFF2-40B4-BE49-F238E27FC236}">
                <a16:creationId xmlns="" xmlns:a16="http://schemas.microsoft.com/office/drawing/2014/main" id="{578DAB91-5F42-4FAF-82EF-782F839D8A9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1" name="Date Placeholder 1">
            <a:extLst>
              <a:ext uri="{FF2B5EF4-FFF2-40B4-BE49-F238E27FC236}">
                <a16:creationId xmlns="" xmlns:a16="http://schemas.microsoft.com/office/drawing/2014/main" id="{CD5E3C08-9134-4A67-A860-154687C50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346DC8C-BBC7-43E5-8E08-B68874421ACA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3833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42573AD-F70A-49D3-BE7A-F07738D85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AA7BE-F69B-45CB-B4F8-D652EDA8EFB8}" type="datetime1">
              <a:rPr lang="en-US" smtClean="0"/>
              <a:t>5/22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99883DA-B6C2-4657-A652-0A53B49BF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2861C96-385A-4FF1-8724-8C4542C36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E04836-9FBE-455F-B394-67607151040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895193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BC33F2A4-04C0-45D8-86F2-2434CF8E40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817F19AF-2ACD-400B-A42C-865AAADDBA4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9">
            <a:extLst>
              <a:ext uri="{FF2B5EF4-FFF2-40B4-BE49-F238E27FC236}">
                <a16:creationId xmlns="" xmlns:a16="http://schemas.microsoft.com/office/drawing/2014/main" id="{01545765-1A0C-4BBA-97EC-B8208501627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0300864-F631-4F66-868D-0A7C86F5D0F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EBC8699A-C1EA-46C7-B9B2-04FD5BD24C2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8F6CB683-4D3C-44EA-94C6-FE4CEE664C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5F24269-8D74-493D-B426-2A99126A255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53017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94AF0FCD-7CE1-400A-9635-F58E6A3CAB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33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94AF0FCD-7CE1-400A-9635-F58E6A3CAB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DFF4DDD4-3BC7-4C15-8267-3B132558C12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66BCFD4-2A9A-4434-B03D-5F7392CB8BA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7562F4CF-7598-46F0-9089-2C23D8DB36E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="" xmlns:a16="http://schemas.microsoft.com/office/drawing/2014/main" id="{515DA1F9-A4FD-44A9-B584-22F95B7BEFE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BC0577C0-8BCC-4AFD-A048-471B490F108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="" xmlns:a16="http://schemas.microsoft.com/office/drawing/2014/main" id="{4076A42B-7037-44EB-897D-3FB68E86B45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2278086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76783469-A460-43C9-820F-4F2ED650C3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57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76783469-A460-43C9-820F-4F2ED650C3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44221CEF-2394-4B46-86B2-48EF5B431AC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87826D1-6426-41D2-A568-54D90599D3D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C181F291-BEDF-46C8-9637-8BA439BC0A9F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="" xmlns:a16="http://schemas.microsoft.com/office/drawing/2014/main" id="{BF09F7A6-9E42-4AF0-862B-4CAB7BEF733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525E27C0-3906-40DC-9D9F-29965454852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472540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E309BE84-9D60-4274-858F-9936EA0A73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81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E309BE84-9D60-4274-858F-9936EA0A733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CD9E237C-7364-4424-86E6-FFD90114E74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811726E-5809-47BC-B194-0A78063E4B5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BEE22F63-A794-4D6B-ABD9-0361ED873EF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="" xmlns:a16="http://schemas.microsoft.com/office/drawing/2014/main" id="{FB8AEF98-18C2-4A30-B757-73982524FF2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DA9949A5-ADB8-41A4-B5AE-E9F70639BE8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14164082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C61F5FC7-A9D9-4DD1-ADEC-D134D60CB8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0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C61F5FC7-A9D9-4DD1-ADEC-D134D60CB86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0F08B5EB-7CA6-4E9E-899D-D4DC91C097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37AA6D7D-E6B8-42F1-9988-2FC512942416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D049AB53-3839-4F11-B5DA-10475961E9C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0038291-EC9B-45B1-8D6D-68E8384DEF7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1974E852-197C-4D1B-B184-6187628DFEF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="" xmlns:a16="http://schemas.microsoft.com/office/drawing/2014/main" id="{74F4E40D-CF1E-467D-B077-B35FB9B2048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8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15679209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87628C62-EDA2-45D5-9BB6-81B3D3D89B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65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87628C62-EDA2-45D5-9BB6-81B3D3D89B4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252C5994-8A51-479D-8BD9-919CAE1E3D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4CCAAEE-9196-4442-8825-02EADA0C771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FC48F8DE-B720-498E-AFBA-BC8C89F42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6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FC48F8DE-B720-498E-AFBA-BC8C89F42DF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1746F03E-7FD4-42D2-821A-92120677FB3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B9DFA36D-6AD7-4063-9238-5549ACB6B8E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E3A37C2B-1458-4251-8AEA-9EB140E6E91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="" xmlns:a16="http://schemas.microsoft.com/office/drawing/2014/main" id="{E20E7295-0724-4DAE-9196-FB47B89160B3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08483506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FD752585-EDD3-469C-9A3D-B055A1390F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89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FD752585-EDD3-469C-9A3D-B055A1390FC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63BF1F0C-AC8A-45C0-8A7B-F2DE3CD589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38556A6-1618-4626-AEBA-3F5F611940C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29BB7B3C-4FC3-4BC1-8AC5-9D5D0F58D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9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29BB7B3C-4FC3-4BC1-8AC5-9D5D0F58D47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F842DC50-E8EA-43B9-947B-5964E2FB68C1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F7EACC41-449F-426D-A9EC-3A1A508B15F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E6F78C2C-53E2-4EE6-A038-EEFFB6B813B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890491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BBB20017-5E09-4423-8091-FE862C637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13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BBB20017-5E09-4423-8091-FE862C6377F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C4FE1147-3FCB-4F0D-B264-69B54948A86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FAB19E3-A4F4-41F6-8622-6EB2377CAB9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655D6BA-9FAE-4460-B484-59E87AD80E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1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7655D6BA-9FAE-4460-B484-59E87AD80EF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5ED73A76-DD7C-4A35-A5E1-1429D50DA125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6" name="Straight Connector 7">
            <a:extLst>
              <a:ext uri="{FF2B5EF4-FFF2-40B4-BE49-F238E27FC236}">
                <a16:creationId xmlns="" xmlns:a16="http://schemas.microsoft.com/office/drawing/2014/main" id="{27FB6C8E-A4C3-4E0A-BCA4-D933642378A4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A7772AF9-E1CD-4CED-AA29-C4C5A71000E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79673500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88C38FF1-AB4A-4151-B901-A9DFFC960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88C38FF1-AB4A-4151-B901-A9DFFC96042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0D65F41F-DAFD-4584-AEB9-8F29C18BAF0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73EAA593-3816-4B30-B1C7-22DAB714EFB5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F57987A2-56C5-4EC5-B72E-FB457A28F6E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D502D3D-F774-49C1-BDA9-538BF4BA361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0BC574C6-E9DC-47B7-B4C6-1A9C8C7F315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="" xmlns:a16="http://schemas.microsoft.com/office/drawing/2014/main" id="{9C2A51CD-1D90-4B82-87BC-8308219D732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4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63170519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FFD29219-604F-49BB-B317-3B80C098F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2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FFD29219-604F-49BB-B317-3B80C098FC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395A8B1E-A634-4CC9-B7AD-96C9CD1201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E65983F3-2F67-42F6-B545-CC666D9E318B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B712989-5C22-4E45-AA38-EFA9FBD5664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696E00F-242E-457B-A6C5-F420A50F8DE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="" xmlns:a16="http://schemas.microsoft.com/office/drawing/2014/main" id="{2178FC9C-2510-4BD8-A969-5C4EFAC52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4F3FAE82-2FD1-4959-ABD9-BE2CD85CC4C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1911521896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="" xmlns:a16="http://schemas.microsoft.com/office/drawing/2014/main" id="{BE9D0DD7-F188-4C13-89D3-255A4BBB3751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="" xmlns:a16="http://schemas.microsoft.com/office/drawing/2014/main" id="{AB99AE52-1F95-4DAB-A380-5B2585433A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1CD2A8D0-CD99-4593-9468-D6E38F6FFE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="" xmlns:a16="http://schemas.microsoft.com/office/drawing/2014/main" id="{C20F5BF2-CF88-452F-88CD-5B30F428BF7F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="" xmlns:a16="http://schemas.microsoft.com/office/drawing/2014/main" id="{BCDD4FDB-1B18-4A41-836D-3BA1515A97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="" xmlns:a16="http://schemas.microsoft.com/office/drawing/2014/main" id="{7A6B33F5-80AE-4922-9FF0-5A221607DE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74945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51F226D3-7C57-4E05-AEC7-FF53F798F0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924F17E1-EB1C-47BD-90C1-648EF641E35A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0107EEC9-C079-4AC2-97E7-60BB67103A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950F127-220B-466D-9932-F0F5DF2C374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F6C4C780-FC93-4F17-8CF7-069B78ED3D3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2E43C9BD-6A7C-4CC5-AEEE-560201C89D6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243D4DA-1407-4D0A-84AB-CB5413E34BA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417106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5650FF17-639E-4250-9D09-F4836C4A73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9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5650FF17-639E-4250-9D09-F4836C4A73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B512D235-423F-4D6E-90D3-37494120553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5AEBB6E-A8C0-41A0-A2E0-013076E3CEF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B12CD90-3C4C-45F6-AA9A-43B31D7C985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D64F35F4-DBA9-4E15-A202-D461947F4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1BE849E-598A-497C-BC0D-D36E8C2DEFD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828168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D6BA643D-BB48-4F16-8586-EA2783060D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2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D6BA643D-BB48-4F16-8586-EA2783060D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EB1F7084-30FA-4312-BEB5-E9D593E86E8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2737F41-4A21-4899-9EEA-AE93E5B1E49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0D04E656-50CE-47B2-A496-CE21BB188181}"/>
              </a:ext>
            </a:extLst>
          </p:cNvPr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DA95C62-AC8F-44F5-913F-45768880CB0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D9E2C22E-3BAB-4355-9C0D-2070FC80C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F7C6002-93AD-4D13-8B9B-ECD1DC22FE3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558657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4E27FCDB-9AF4-4564-8DC2-B67F37598E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923336B-7E85-4512-9ADE-63C2698C413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Square">
            <a:extLst>
              <a:ext uri="{FF2B5EF4-FFF2-40B4-BE49-F238E27FC236}">
                <a16:creationId xmlns="" xmlns:a16="http://schemas.microsoft.com/office/drawing/2014/main" id="{DCBFB9FD-FF3B-4734-AC1E-780CC3AE7819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235B7104-F8CD-4DFB-8EE8-A019A563A09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2">
            <a:extLst>
              <a:ext uri="{FF2B5EF4-FFF2-40B4-BE49-F238E27FC236}">
                <a16:creationId xmlns="" xmlns:a16="http://schemas.microsoft.com/office/drawing/2014/main" id="{2C3564DA-6A1B-4524-8BBA-1BB306DAAF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91627E3-4FA1-48E9-A5E1-D82A33B1B642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387269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897FA915-1901-41BF-A0EC-2D6DB0ADCED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53AA339-4BDA-4DEC-95FD-26139C2FF15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="" xmlns:a16="http://schemas.microsoft.com/office/drawing/2014/main" id="{DB87B8D0-88B3-4080-8EA5-28D3EEECE052}"/>
              </a:ext>
            </a:extLst>
          </p:cNvPr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6A509B3A-345D-430E-BBCA-B34B77864C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5C5CD7D-6AB9-4D8F-BCFA-67D16955996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577500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920B35D6-DCC7-4794-9051-2B0D40543E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0FE54AAA-1A42-44A6-98B1-E842E3CE91C4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01212D09-763A-41D0-A70E-7F6CB60DA8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F038B6B-8239-41F6-B381-4FA0E15B390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5A8D9DDE-5F5A-47A8-AFD1-F78003A4710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B49BF893-79E4-4B08-AC60-934EB8CC4B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A7C4C5B-CD93-4FA7-98C3-2614A9D745BA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265928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546A3268-8862-451E-8F76-40846FBC4D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2AC032AA-20C3-4709-A3C2-281915D0E532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F80C8DCE-361F-4E60-859D-A99B34407E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B95F0CF-555B-4A6B-B7D6-29700FCA373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5809548-EDD6-4DF6-B955-5188C5EDF0E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A3D90437-40BC-459B-86C7-3CE0BA731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F50A24A-F2CD-4B4D-B589-E6671326C8F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804202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0CF1DEA3-2DB5-473A-9C04-B3E23C709E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E0A4FF68-9458-4FAB-B0E3-A3FA8374BA29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F841D606-0DCB-4B44-BF63-D4AEEA02BA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53ED833-CCE7-4897-987A-FD1158EA001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64CDF476-849B-4D27-B967-F39248BEC5E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EB5A7030-B1B5-433B-BEBE-FD7C2E9F5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12A65B4-B856-42D4-BA73-2ED2D7F21FA2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625696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98295319-4A0A-4F4E-9663-4113D802D7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23BFC30A-CCC0-4878-9A68-DBAA78C1F0A1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9">
            <a:extLst>
              <a:ext uri="{FF2B5EF4-FFF2-40B4-BE49-F238E27FC236}">
                <a16:creationId xmlns="" xmlns:a16="http://schemas.microsoft.com/office/drawing/2014/main" id="{BBB23ABA-C7FA-42AD-83AB-5F5FF8638A8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BC337DB-C61C-4CBA-A498-1548513B7EF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A27DBE4D-F011-4C31-B922-E384B33D0E4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E31351F5-6C85-4A67-95FE-4231B41B6F1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24135B5-93FF-4703-BE8E-1319EC4A387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358159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4E2C9DEF-CB79-4406-BC7A-49ACAC4DBBC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B53ED56C-8055-4924-B1E2-2A503F058718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812A25F1-9DD8-421F-885E-FB563FEB63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73544FD-9872-4B87-93C1-E9304551321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E7515C95-1903-4E81-B183-5E5F238E8CF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77D5EC7D-A6FC-4F14-9998-228D58BF361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D52A611-650F-44E5-9101-5EA31FD2054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225375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64C1F657-A189-41EF-941D-20DC6ED0B5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17869A78-3EB2-4410-870C-B8F13C88B0A4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B1697650-EE67-49C1-AAE7-11DF32CA3C8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5970AE2-B618-4F5F-B9C7-5839E09CCAE8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00BDD133-109A-4916-8F3F-EADD307C7D0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C07E6A97-0719-48F5-B170-F328ADAE23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61A5217-12B3-4AD1-8E12-28A3877C7E6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76794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3452AB51-CFD3-4AEE-869F-BF9D67665F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CF86A31B-0128-4E40-9569-8AAD92969383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1E14FE74-774C-42D3-8A67-8D9E8DB9ECC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2B2FDF7-860E-470F-9566-FAD4E8D1DAF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55909AD3-B0F6-4B1C-986A-181CBC7D603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90F8F74A-BD38-4350-A3C1-AE9D7C6930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6F74DA2-B8F6-42AD-959F-8827E2DDFAF2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415243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205B402F-8D9D-4C6B-967E-090A70757888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4490CF6A-D80E-47D7-8964-5252811CDDD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F4602A1-FC2A-4298-A1C9-5E4793E6E47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D2205E12-E90A-4881-8363-AF5092DD7E4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A74A43E1-E008-42B1-A500-BCD7A6278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5AF1C166-D8CB-4C85-8E38-08E3BC194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05DF466-4806-4014-9879-413796E3352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111550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64CCDBEF-ABC9-477B-B8E8-EFD792CF23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124B25D1-A18A-4759-855B-918E72B4B7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855628C8-E56C-46C8-A750-4D354D7D7C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060C805-7B40-40AD-B6F5-93AFDE43A20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564D8CA-818D-437F-AC88-EF150C2FFA6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8F217293-94C0-4C5E-9F6A-4098BC690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C5F6309-EB37-46F9-8B34-F03D6C2F310A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384883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9A434DA8-254C-4004-899B-2B959DEC2F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42C0B361-880D-40BA-ADC4-F5A1334A232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3CC637F-DE0C-4478-84DE-C7F8248E8CC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11129BFE-8456-41FA-BDA4-93A918CE716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ADB86FA6-AE31-4F82-ACD9-668FC1DB18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34D6D626-B8BF-41A0-9446-18C4D6ED9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1AE1005-06D8-4B7A-B886-BAA165681F7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972093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A16FCC53-1AFE-4F4F-8B17-F835F4E341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C3CEA24F-0A76-4FA2-A1AE-6E025E7F6AAE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EF79837-E103-4AF0-A529-2BE545D72B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AD313D4-BFF0-4442-93F4-6E1A40D34B0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B198454-D790-46E1-B59C-F2807F1004C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37F1BB37-7E49-444B-816B-C42330376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3887F3E-CF05-4CAC-9197-37024176640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518080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66397D63-75F6-41D6-9BCD-3DE5BB143D7D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9B2826C6-C9E3-4077-B585-C9D48087865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5DBCA90-37A8-41CF-BB5D-5B520078905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356BFB8E-3BCD-4D41-89F0-B04FACD431A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8">
            <a:extLst>
              <a:ext uri="{FF2B5EF4-FFF2-40B4-BE49-F238E27FC236}">
                <a16:creationId xmlns="" xmlns:a16="http://schemas.microsoft.com/office/drawing/2014/main" id="{BFEE63F6-92BF-455E-A707-512DD0F61A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0A109B5D-6943-4856-9733-6D4375060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0200419-38CC-4091-A1F5-CCC5E470C8A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471048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5E28A6CB-FA81-4999-94CE-B4079EE305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F53EE824-F45B-43E2-A015-E23C2205E293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AEAC27F9-2A11-4E14-817F-BC0098435B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4E3E045-A583-43F2-B82C-FE5862907D7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FA2ED2A4-E965-422F-ACFF-1F2AC2B6B51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AE2BA99A-BD8C-4D15-AF0F-7201C1D63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D61774F-64D3-4798-A019-F2A75E87943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961506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69F2A232-EF9F-49CF-B0B6-89068ABDECC7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A53E2691-C66D-40AF-A58B-055DBA6989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F298352-9C34-46E7-9D85-742D611A40E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7AC9763F-8EB3-44F4-A4D6-0F38D35273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9">
            <a:extLst>
              <a:ext uri="{FF2B5EF4-FFF2-40B4-BE49-F238E27FC236}">
                <a16:creationId xmlns="" xmlns:a16="http://schemas.microsoft.com/office/drawing/2014/main" id="{81D49774-A3D7-4F75-9054-228340919D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B8E3DADD-D3AF-4119-838F-6E050DB279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D29E918-F6F2-43C3-8ECD-B7D47E867083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68760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57ABC799-14C8-4ACD-BD3F-B6AA725A9F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D5FB304-9068-488F-86CD-BDD0C0DC404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F083D106-4687-4F03-9F4A-F5210C7778C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3483FE24-780F-4F7C-8223-C8A41AC89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F56135F-3319-4222-97FF-3376E6BAB71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431602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82977F7B-BB7B-4D3A-B579-495C2B5CF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82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82977F7B-BB7B-4D3A-B579-495C2B5CF65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61AC4050-7C0B-432C-97EF-2DC975951F8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381C37D-CCFB-4BA3-BD1A-C56D1A3E5F0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81814AFE-F0FC-432B-AA87-67624C31235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06D2648E-F394-4487-A529-9B311DDC684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99B34BC5-0083-4BE6-90C5-189E7A60F4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24AAB1F-F540-48D7-A9CD-05D0D17883E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735148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948EC66E-ABFB-4A9E-A8F3-AF127509DD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Bubble">
            <a:extLst>
              <a:ext uri="{FF2B5EF4-FFF2-40B4-BE49-F238E27FC236}">
                <a16:creationId xmlns="" xmlns:a16="http://schemas.microsoft.com/office/drawing/2014/main" id="{C505C5F7-97A1-4583-BD80-B15368D879D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7D8316A4-8018-47F5-BC38-47F3FD06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" name="Right Triangle 55">
              <a:extLst>
                <a:ext uri="{FF2B5EF4-FFF2-40B4-BE49-F238E27FC236}">
                  <a16:creationId xmlns="" xmlns:a16="http://schemas.microsoft.com/office/drawing/2014/main" id="{0D35A17E-CB31-4E35-B20D-631CC0243C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" name="Page">
            <a:extLst>
              <a:ext uri="{FF2B5EF4-FFF2-40B4-BE49-F238E27FC236}">
                <a16:creationId xmlns="" xmlns:a16="http://schemas.microsoft.com/office/drawing/2014/main" id="{3B18092B-4327-4E22-BE35-0D9B87933B7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2E7A2E6-3F3F-45A3-A588-D026252DA54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10811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503A829A-0712-4771-8A27-CF21DCA80259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442A4B8F-FDA8-467F-A18E-43E9FA9A91A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1BE3622-8A1C-477C-8E82-C120A7702CE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78FDBA60-4C83-463E-81A3-67FE07B457E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B182CAA4-1968-46A5-A697-D3CC636753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A027B1A6-F76F-4E10-8D67-8412E645A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8279F20-E585-4F64-9C01-670E74C9E8B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996112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9FD2DFA3-19D6-4BF8-BF25-8BDFD2CB343A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A165BDB-E481-46E1-AD58-EC377A88F98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6EA51ED9-BE7F-4B83-A557-16FCAF34818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="" xmlns:a16="http://schemas.microsoft.com/office/drawing/2014/main" id="{F0286203-C8C0-4EDF-8513-10485D7F655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CB3AE3A-946C-40B6-B731-A7D791B140F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0773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8820E50-FBD9-4987-AF30-2E6BEF6E31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8820E50-FBD9-4987-AF30-2E6BEF6E31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C0E665D3-EBAE-4D9A-A7AB-B67ECB3AC6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20D5F2A-A4B8-486D-9C86-2C0D249ABE7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856E7B41-62B7-40C1-96B1-AFB8AAEA2F8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FC211D22-8933-4F50-A91F-51B5302C9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9E7544F-EF94-4C6F-9E98-EE084CC273BA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398479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="" xmlns:a16="http://schemas.microsoft.com/office/drawing/2014/main" id="{F435AADE-7155-40DB-989E-47B9794118D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C1E5294-32F7-4BE4-B2B1-F3D7507506C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="" xmlns:a16="http://schemas.microsoft.com/office/drawing/2014/main" id="{67396DC5-CA89-4F19-BF2A-28B30F5EAF6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Date Placeholder 1">
            <a:extLst>
              <a:ext uri="{FF2B5EF4-FFF2-40B4-BE49-F238E27FC236}">
                <a16:creationId xmlns="" xmlns:a16="http://schemas.microsoft.com/office/drawing/2014/main" id="{CDDBE86F-ADB8-4CA4-A10E-8EE5B48921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7DD78C8-25D7-47C2-9710-4CD2A798C12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929356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5B0A09B9-1141-44B3-81B3-F47D436B93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4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5B0A09B9-1141-44B3-81B3-F47D436B93A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FC8C5CEA-958C-49A7-9163-D99497784F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1CB7D91-F0B5-4F12-80D3-27BDCCFE366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16623703-9A60-432A-AF56-E87F36EC79B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721070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168821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2DBF89C1-97AD-4F86-8AE3-67C33FFEA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2DBF89C1-97AD-4F86-8AE3-67C33FFEAD8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8C345C31-05EC-4833-A0F1-9E86FC161E6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5B363A5-806B-49B9-AD2E-2B25E38FC11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="" xmlns:a16="http://schemas.microsoft.com/office/drawing/2014/main" id="{C4654D91-82EC-4228-B2EC-0BA3A5DFAFC7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52769" y="3921919"/>
            <a:ext cx="5133975" cy="96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C8DDF13B-04E4-4337-A79A-66E87FED5D3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6" name="A4Grid">
            <a:extLst>
              <a:ext uri="{FF2B5EF4-FFF2-40B4-BE49-F238E27FC236}">
                <a16:creationId xmlns="" xmlns:a16="http://schemas.microsoft.com/office/drawing/2014/main" id="{A661CE56-9228-48D5-A7E2-B2881094D626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>
              <a:extLst>
                <a:ext uri="{FF2B5EF4-FFF2-40B4-BE49-F238E27FC236}">
                  <a16:creationId xmlns="" xmlns:a16="http://schemas.microsoft.com/office/drawing/2014/main" id="{FE1BBE07-625D-44B4-8ADF-1CA11C7163F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No-fly zone">
              <a:extLst>
                <a:ext uri="{FF2B5EF4-FFF2-40B4-BE49-F238E27FC236}">
                  <a16:creationId xmlns="" xmlns:a16="http://schemas.microsoft.com/office/drawing/2014/main" id="{58B8651C-AC42-4F6D-A876-7F35E12C6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="" xmlns:a16="http://schemas.microsoft.com/office/drawing/2014/main" id="{DF3CC99D-6BDA-4667-9DE9-A2006D93A7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="" xmlns:a16="http://schemas.microsoft.com/office/drawing/2014/main" id="{66997487-3621-4010-83E6-4EBD46D01F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11" name="Gutter space">
              <a:extLst>
                <a:ext uri="{FF2B5EF4-FFF2-40B4-BE49-F238E27FC236}">
                  <a16:creationId xmlns="" xmlns:a16="http://schemas.microsoft.com/office/drawing/2014/main" id="{7B868E81-B4CF-472C-8E14-9739B910BC5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>
                <a:extLst>
                  <a:ext uri="{FF2B5EF4-FFF2-40B4-BE49-F238E27FC236}">
                    <a16:creationId xmlns="" xmlns:a16="http://schemas.microsoft.com/office/drawing/2014/main" id="{C875DFAF-9ED9-4D42-B588-91FF22E7C9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10">
                <a:extLst>
                  <a:ext uri="{FF2B5EF4-FFF2-40B4-BE49-F238E27FC236}">
                    <a16:creationId xmlns="" xmlns:a16="http://schemas.microsoft.com/office/drawing/2014/main" id="{B304EBC0-C9C8-4599-8077-C3C7089E9E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9">
                <a:extLst>
                  <a:ext uri="{FF2B5EF4-FFF2-40B4-BE49-F238E27FC236}">
                    <a16:creationId xmlns="" xmlns:a16="http://schemas.microsoft.com/office/drawing/2014/main" id="{32ADC0A8-8808-4ACD-941D-540784885A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8">
                <a:extLst>
                  <a:ext uri="{FF2B5EF4-FFF2-40B4-BE49-F238E27FC236}">
                    <a16:creationId xmlns="" xmlns:a16="http://schemas.microsoft.com/office/drawing/2014/main" id="{55000667-39FF-4524-BEF4-FD77C83F3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7">
                <a:extLst>
                  <a:ext uri="{FF2B5EF4-FFF2-40B4-BE49-F238E27FC236}">
                    <a16:creationId xmlns="" xmlns:a16="http://schemas.microsoft.com/office/drawing/2014/main" id="{10D3494D-23A7-4DE1-BA87-52D668AC55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6">
                <a:extLst>
                  <a:ext uri="{FF2B5EF4-FFF2-40B4-BE49-F238E27FC236}">
                    <a16:creationId xmlns="" xmlns:a16="http://schemas.microsoft.com/office/drawing/2014/main" id="{07CD0C73-9EC5-4C9C-B6FD-6B5FC6C824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5">
                <a:extLst>
                  <a:ext uri="{FF2B5EF4-FFF2-40B4-BE49-F238E27FC236}">
                    <a16:creationId xmlns="" xmlns:a16="http://schemas.microsoft.com/office/drawing/2014/main" id="{F87C9A8B-0E1E-4638-B68D-D9B1F60D9C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4">
                <a:extLst>
                  <a:ext uri="{FF2B5EF4-FFF2-40B4-BE49-F238E27FC236}">
                    <a16:creationId xmlns="" xmlns:a16="http://schemas.microsoft.com/office/drawing/2014/main" id="{586AB6B2-9104-44AF-9E77-7DB080966D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3">
                <a:extLst>
                  <a:ext uri="{FF2B5EF4-FFF2-40B4-BE49-F238E27FC236}">
                    <a16:creationId xmlns="" xmlns:a16="http://schemas.microsoft.com/office/drawing/2014/main" id="{AE78C42C-48D4-4690-ADA3-1BF4158018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0" name="Gutter 2">
                <a:extLst>
                  <a:ext uri="{FF2B5EF4-FFF2-40B4-BE49-F238E27FC236}">
                    <a16:creationId xmlns="" xmlns:a16="http://schemas.microsoft.com/office/drawing/2014/main" id="{635919C6-04CF-4815-8D63-2FC563C63F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1" name="Gutter 1">
                <a:extLst>
                  <a:ext uri="{FF2B5EF4-FFF2-40B4-BE49-F238E27FC236}">
                    <a16:creationId xmlns="" xmlns:a16="http://schemas.microsoft.com/office/drawing/2014/main" id="{E8CB18D2-574D-4FE4-BEDB-E0BC1F64A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2" name="Baselines/Anchors">
              <a:extLst>
                <a:ext uri="{FF2B5EF4-FFF2-40B4-BE49-F238E27FC236}">
                  <a16:creationId xmlns="" xmlns:a16="http://schemas.microsoft.com/office/drawing/2014/main" id="{461ADE68-EA98-4605-8E1D-94C492A45EC0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>
                <a:extLst>
                  <a:ext uri="{FF2B5EF4-FFF2-40B4-BE49-F238E27FC236}">
                    <a16:creationId xmlns="" xmlns:a16="http://schemas.microsoft.com/office/drawing/2014/main" id="{6C9C69DA-EBFD-4906-8A89-B08574B4EF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9">
                <a:extLst>
                  <a:ext uri="{FF2B5EF4-FFF2-40B4-BE49-F238E27FC236}">
                    <a16:creationId xmlns="" xmlns:a16="http://schemas.microsoft.com/office/drawing/2014/main" id="{1AD0AFDD-10B0-486D-BB8B-2DA69FB1D5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8">
                <a:extLst>
                  <a:ext uri="{FF2B5EF4-FFF2-40B4-BE49-F238E27FC236}">
                    <a16:creationId xmlns="" xmlns:a16="http://schemas.microsoft.com/office/drawing/2014/main" id="{7AFC034F-0B85-47F6-9014-97FFD987D1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7">
                <a:extLst>
                  <a:ext uri="{FF2B5EF4-FFF2-40B4-BE49-F238E27FC236}">
                    <a16:creationId xmlns="" xmlns:a16="http://schemas.microsoft.com/office/drawing/2014/main" id="{A8FFE18C-72F2-44BD-A064-5D250E4EDE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6">
                <a:extLst>
                  <a:ext uri="{FF2B5EF4-FFF2-40B4-BE49-F238E27FC236}">
                    <a16:creationId xmlns="" xmlns:a16="http://schemas.microsoft.com/office/drawing/2014/main" id="{17AE535B-8C4E-43DE-8601-037FC42B8B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5">
                <a:extLst>
                  <a:ext uri="{FF2B5EF4-FFF2-40B4-BE49-F238E27FC236}">
                    <a16:creationId xmlns="" xmlns:a16="http://schemas.microsoft.com/office/drawing/2014/main" id="{4D68555B-88EE-4DE1-B2B9-9194E8F2C5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4">
                <a:extLst>
                  <a:ext uri="{FF2B5EF4-FFF2-40B4-BE49-F238E27FC236}">
                    <a16:creationId xmlns="" xmlns:a16="http://schemas.microsoft.com/office/drawing/2014/main" id="{9DF37EA5-E380-4F88-BC6F-0394F3CE28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3">
                <a:extLst>
                  <a:ext uri="{FF2B5EF4-FFF2-40B4-BE49-F238E27FC236}">
                    <a16:creationId xmlns="" xmlns:a16="http://schemas.microsoft.com/office/drawing/2014/main" id="{DF8A3CCC-98CC-4316-B04A-9FEE9E289D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2">
                <a:extLst>
                  <a:ext uri="{FF2B5EF4-FFF2-40B4-BE49-F238E27FC236}">
                    <a16:creationId xmlns="" xmlns:a16="http://schemas.microsoft.com/office/drawing/2014/main" id="{9A25CBE2-2AB5-41A5-9A82-164E949DD6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="" xmlns:a16="http://schemas.microsoft.com/office/drawing/2014/main" id="{72EFF72B-780E-43C3-BEC9-B03AC248F6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="" xmlns:a16="http://schemas.microsoft.com/office/drawing/2014/main" id="{F21DFF4A-644F-41DA-9881-54F115FCE0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9">
                <a:extLst>
                  <a:ext uri="{FF2B5EF4-FFF2-40B4-BE49-F238E27FC236}">
                    <a16:creationId xmlns="" xmlns:a16="http://schemas.microsoft.com/office/drawing/2014/main" id="{1FA02DB6-27B5-4909-9690-5F205AC12D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8">
                <a:extLst>
                  <a:ext uri="{FF2B5EF4-FFF2-40B4-BE49-F238E27FC236}">
                    <a16:creationId xmlns="" xmlns:a16="http://schemas.microsoft.com/office/drawing/2014/main" id="{8847F7ED-3E5F-4858-8096-BAF8B18EF5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7">
                <a:extLst>
                  <a:ext uri="{FF2B5EF4-FFF2-40B4-BE49-F238E27FC236}">
                    <a16:creationId xmlns="" xmlns:a16="http://schemas.microsoft.com/office/drawing/2014/main" id="{959B6343-222B-48F5-BCFB-483FDF41A8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6">
                <a:extLst>
                  <a:ext uri="{FF2B5EF4-FFF2-40B4-BE49-F238E27FC236}">
                    <a16:creationId xmlns="" xmlns:a16="http://schemas.microsoft.com/office/drawing/2014/main" id="{3AC2FB88-6650-48B4-8976-54F4345F2B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5">
                <a:extLst>
                  <a:ext uri="{FF2B5EF4-FFF2-40B4-BE49-F238E27FC236}">
                    <a16:creationId xmlns="" xmlns:a16="http://schemas.microsoft.com/office/drawing/2014/main" id="{9776F80F-E589-470E-BC86-AE02D12204A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4">
                <a:extLst>
                  <a:ext uri="{FF2B5EF4-FFF2-40B4-BE49-F238E27FC236}">
                    <a16:creationId xmlns="" xmlns:a16="http://schemas.microsoft.com/office/drawing/2014/main" id="{59AB2342-F878-4745-A547-3ED850D9F6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3">
                <a:extLst>
                  <a:ext uri="{FF2B5EF4-FFF2-40B4-BE49-F238E27FC236}">
                    <a16:creationId xmlns="" xmlns:a16="http://schemas.microsoft.com/office/drawing/2014/main" id="{9BB5D29C-6660-47C5-BA5C-512EE06B2D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" name="Line 2">
                <a:extLst>
                  <a:ext uri="{FF2B5EF4-FFF2-40B4-BE49-F238E27FC236}">
                    <a16:creationId xmlns="" xmlns:a16="http://schemas.microsoft.com/office/drawing/2014/main" id="{94B13E46-8BDD-455A-B582-9074BA9BFB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" name="Line 1">
                <a:extLst>
                  <a:ext uri="{FF2B5EF4-FFF2-40B4-BE49-F238E27FC236}">
                    <a16:creationId xmlns="" xmlns:a16="http://schemas.microsoft.com/office/drawing/2014/main" id="{A171EF54-26BD-4106-BB5F-E9D0589112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Five column measure">
              <a:extLst>
                <a:ext uri="{FF2B5EF4-FFF2-40B4-BE49-F238E27FC236}">
                  <a16:creationId xmlns="" xmlns:a16="http://schemas.microsoft.com/office/drawing/2014/main" id="{522C3966-2D05-4512-9A3A-8A6E13BA4D28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>
                <a:extLst>
                  <a:ext uri="{FF2B5EF4-FFF2-40B4-BE49-F238E27FC236}">
                    <a16:creationId xmlns="" xmlns:a16="http://schemas.microsoft.com/office/drawing/2014/main" id="{9A61275B-78E9-4F13-A084-604E713CE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4">
                <a:extLst>
                  <a:ext uri="{FF2B5EF4-FFF2-40B4-BE49-F238E27FC236}">
                    <a16:creationId xmlns="" xmlns:a16="http://schemas.microsoft.com/office/drawing/2014/main" id="{790D3997-FF5E-4E4E-A2C7-F48BF6C48C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3">
                <a:extLst>
                  <a:ext uri="{FF2B5EF4-FFF2-40B4-BE49-F238E27FC236}">
                    <a16:creationId xmlns="" xmlns:a16="http://schemas.microsoft.com/office/drawing/2014/main" id="{29E8F75E-9CD8-4B14-8134-30733276C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9" name="Column 2">
                <a:extLst>
                  <a:ext uri="{FF2B5EF4-FFF2-40B4-BE49-F238E27FC236}">
                    <a16:creationId xmlns="" xmlns:a16="http://schemas.microsoft.com/office/drawing/2014/main" id="{4291615C-FC68-40AA-95AB-856F43B77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20" name="Column 1">
                <a:extLst>
                  <a:ext uri="{FF2B5EF4-FFF2-40B4-BE49-F238E27FC236}">
                    <a16:creationId xmlns="" xmlns:a16="http://schemas.microsoft.com/office/drawing/2014/main" id="{A6975FB9-6D4B-4DF7-A0AF-1267A06CA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4" name="Live space">
              <a:extLst>
                <a:ext uri="{FF2B5EF4-FFF2-40B4-BE49-F238E27FC236}">
                  <a16:creationId xmlns="" xmlns:a16="http://schemas.microsoft.com/office/drawing/2014/main" id="{168B9A11-05D6-4A74-AF82-2F1F2F4BCBF7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="" xmlns:a16="http://schemas.microsoft.com/office/drawing/2014/main" id="{475957AE-F4B5-439A-8DEE-BD4F6A952AF9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A6A6A6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2" name="Date Placeholder 1">
            <a:extLst>
              <a:ext uri="{FF2B5EF4-FFF2-40B4-BE49-F238E27FC236}">
                <a16:creationId xmlns="" xmlns:a16="http://schemas.microsoft.com/office/drawing/2014/main" id="{F7A2F719-84E1-4FAC-BC66-AFAF0B078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02AFE4A-DE81-46D9-A562-9DA940822CE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171035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="" xmlns:a16="http://schemas.microsoft.com/office/drawing/2014/main" id="{13A4F27B-FBD2-4125-9741-60A72B5F4607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="" xmlns:a16="http://schemas.microsoft.com/office/drawing/2014/main" id="{E3B5548E-AB6E-4EE7-83D3-548E06C6B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324E5988-7204-485F-91FE-B2FC238916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="" xmlns:a16="http://schemas.microsoft.com/office/drawing/2014/main" id="{2C10EBD4-8419-4ABA-AEBC-253F46BE502D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="" xmlns:a16="http://schemas.microsoft.com/office/drawing/2014/main" id="{9818AA7B-5F3D-4C21-AC99-0DC5114201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="" xmlns:a16="http://schemas.microsoft.com/office/drawing/2014/main" id="{655512A0-A426-4031-8395-9A99146D5F4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762262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2B24DBAF-542A-46D3-A66F-F758094BA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2B24DBAF-542A-46D3-A66F-F758094BA6E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CEE6197B-61E2-46EA-89ED-BA4BA653DD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0AE9BD3-6725-4C47-83A0-3328E47ECD7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CA34FBC4-21A0-4B47-91CB-DEA295396AA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="" xmlns:a16="http://schemas.microsoft.com/office/drawing/2014/main" id="{B3D463EB-7241-4044-9566-B03F4E0E71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DCDC2AB-E5B6-4909-9ED8-F671A088D2F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687539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F9BE8B1F-6C24-488F-889C-926B92544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6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F9BE8B1F-6C24-488F-889C-926B92544D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="" xmlns:a16="http://schemas.microsoft.com/office/drawing/2014/main" id="{61C58601-A99E-46A3-BA10-F248B03630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8875F4B-DD3F-4A53-8B92-956391093F6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PanelGray">
            <a:extLst>
              <a:ext uri="{FF2B5EF4-FFF2-40B4-BE49-F238E27FC236}">
                <a16:creationId xmlns="" xmlns:a16="http://schemas.microsoft.com/office/drawing/2014/main" id="{3FD984B6-C276-430E-A0E3-BD960B871355}"/>
              </a:ext>
            </a:extLst>
          </p:cNvPr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766D7505-4644-400F-BADF-8B74E661A45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="" xmlns:a16="http://schemas.microsoft.com/office/drawing/2014/main" id="{C31D9FDC-EDCD-4F8D-9F0A-D1A43C0038E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B785534-6A72-4412-BFD5-52720DF415E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498425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60D993BB-4945-4F5F-83AC-A44F75F711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9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60D993BB-4945-4F5F-83AC-A44F75F7111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C130687E-FAB1-4D71-82A6-E4173B3F605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8E66C9B-0688-4464-BAAA-5181323CD81B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34271019-BE34-47FB-960E-6F604C8B0F26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157670C1-0F75-4914-A4C7-106B5E13713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8">
            <a:extLst>
              <a:ext uri="{FF2B5EF4-FFF2-40B4-BE49-F238E27FC236}">
                <a16:creationId xmlns="" xmlns:a16="http://schemas.microsoft.com/office/drawing/2014/main" id="{185F7592-6F23-403B-9C01-D4FB3383C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45D8C16-F21D-46B5-8AA6-200482B250D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97146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F8B66A4C-0DE2-48BF-AC3B-4E608DFDEE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387D6F76-F13B-458D-948E-1810A52E70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BEBC71A8-F6A9-42C2-BD0D-8496194737A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9A5411D-6D01-40BA-8BDF-2D69EDD5E64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8CE360F9-4DA8-49DE-A328-DF69D3EEB12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9C7551F4-6DD0-4329-913C-47B41015E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0129459-F04E-4C59-AF0E-92E347F2A5C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010091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CB25AC68-D0F9-4EBF-B98D-1E89085024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1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CB25AC68-D0F9-4EBF-B98D-1E890850247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348B13DE-3B54-45C1-9D25-9CDB4C432F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855E4EF-3A71-4994-8AB0-3E0FA9057BB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Line">
            <a:extLst>
              <a:ext uri="{FF2B5EF4-FFF2-40B4-BE49-F238E27FC236}">
                <a16:creationId xmlns="" xmlns:a16="http://schemas.microsoft.com/office/drawing/2014/main" id="{39BA8890-67A2-46AC-AA40-A35C1E90BCEF}"/>
              </a:ext>
            </a:extLst>
          </p:cNvPr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8">
            <a:extLst>
              <a:ext uri="{FF2B5EF4-FFF2-40B4-BE49-F238E27FC236}">
                <a16:creationId xmlns="" xmlns:a16="http://schemas.microsoft.com/office/drawing/2014/main" id="{707310BE-FE4A-4DD9-BF94-F65476B50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35AC989-80C7-4F7E-A4D2-20A42C98FD2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562489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0E76495E-9B9B-4CBB-A523-1759C5FB77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5BFCD3DC-C3D6-44EA-8D4D-77288BA87552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68AF84F4-644E-4902-AE6A-DD3DAF0599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B87B6A0-DEA8-44B5-817D-EFB0B751341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7C68EF9-B037-4F92-98C7-27E648376DE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B4CE598F-8AA9-4A3D-B53E-03052D1452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145AECF-A04C-44F8-9BD5-382BA1F41622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626629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11771FD3-5AEC-4220-83BA-DF86D6520E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E954B9EC-113B-47F0-8F12-4FA1830F0CF1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D350D7CB-CFA7-4E8F-9079-5215E8B058E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25C672E-A4D7-4990-B119-26F17F89CC6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45B7468-0443-4CBA-961D-5CDBF35C23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B9A4D820-585C-46FA-9A18-EBD6761BBC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1FB1236-5D06-4CED-BBB0-2C89AA2A77C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04807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876C8553-D697-48BC-A104-0C12E02821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397F012-6D84-4C64-B31F-F62642E24A1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Shadow">
            <a:extLst>
              <a:ext uri="{FF2B5EF4-FFF2-40B4-BE49-F238E27FC236}">
                <a16:creationId xmlns="" xmlns:a16="http://schemas.microsoft.com/office/drawing/2014/main" id="{3A9497B9-27BA-4DCA-AE9B-31098B3226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68CC1F4C-A331-4DA3-9FA8-B058B088B9AA}"/>
              </a:ext>
            </a:extLst>
          </p:cNvPr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21BEAC3-6EE8-4994-B4CD-6FAEDBDB700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D86794F0-A40A-4F01-9AD8-28E53248D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E98E927-FA87-4EA0-825F-BE56D801AE5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201831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8009DAC5-C61F-485E-BD69-13B6641212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7BDF6745-EE99-4438-BCEE-7DFD93845775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ACD19DEE-AF85-4385-B48B-AF0B01FCA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B069D5A-D5AB-4A4F-A9E5-66E27064DC9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058FE88-F803-480D-9C0F-E3032150F3D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BDCD600A-2C4C-4D5B-9E23-DF9A7247D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EEEB656-069F-447E-972A-2FB87D01F93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709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E84937AA-FC2C-4817-910C-681562A2B1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8E1018E6-CECD-48BE-ACD9-5E0A129BFEA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D4418468-C4D8-4DB5-92A7-6F637FD696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794A8B2-1AB7-4CB6-B4D7-9F891CC2E8D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7D9A276E-A38B-4D15-A05C-CBA9C9E1DDA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309F8BA2-CD25-4B07-A024-7369C97F18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9965E81-2A36-4FBE-86A3-BD34A062D2F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043630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961DFFD7-469F-49B3-8F12-111E7D5064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82D585BB-D3D3-4FF8-A80D-9B9979C97A29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906629C6-926C-49E3-8A77-1AEB792898C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CD14F64-9B41-47F2-846D-2AC0FACF508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230A948D-5102-4A12-ACB0-39CD7A659A8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8FD52A9A-31CB-44AF-B1CB-82DF8A3CDB1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316DC3B-F3BA-487B-9C17-E750FE74A28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854062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56D77FC6-D752-4E65-B54B-EEDE850C385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4805ACA6-ECA3-46D8-AD64-CE0D179093C9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7F4130E-CE34-4EE3-9579-CDC900EBDCD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33B289E-22BF-42F5-A7BA-6B1084B3501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5B68711C-2BC0-4566-94D9-7A4FCA72DE4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CC6021FC-B855-43DC-9898-F76512AE0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D437D1B-DFEC-472F-835F-62658E79456A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789278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F8246BEB-9435-49C5-B67E-EA4A6969EC1A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529EBE1D-0805-480C-9F84-C96481E5C5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2A168AF-FD92-430E-A78E-8FBEBBD40FE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37222F65-E7B2-46FC-921C-86E97F52BCC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10">
            <a:extLst>
              <a:ext uri="{FF2B5EF4-FFF2-40B4-BE49-F238E27FC236}">
                <a16:creationId xmlns="" xmlns:a16="http://schemas.microsoft.com/office/drawing/2014/main" id="{B4B6B810-CE03-4BA4-B734-F558A29B25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DEBE6BD0-DEDA-46C8-8F4D-B04B465278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AFFFA5F-84CD-4F07-B9F2-4FD124F61E0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391085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907F2296-362D-4F78-A746-98DC810F87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68B47E35-8812-4046-B9E5-054A9A03546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0C2F53F9-E6E8-48A5-A28B-2DF742E93AD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F94BF4C-1A23-4113-A270-7C749913D5D8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069B6E45-A3FC-447D-A7E1-7178BF0E756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9DBC6F03-A158-4C29-A65D-93B2B04E97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A05A46A-1C8E-414C-B0AF-15A9046BB31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51207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AC262E79-8673-457D-9D38-2ABF023255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7D32FFDA-67D2-4344-AF91-5E056689AA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96E0956-61EF-4612-9C23-2C818920162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4D68BD16-C65C-4AC5-B363-D7B76C5FDCB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80272F41-7DFC-4CD4-8F2F-6116F981D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8BE3F911-F233-420C-A61A-7BF7468AAF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7DDF1F2-3523-47E9-A14A-AD2FA310679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578772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E7B3A1BD-654A-43F6-8E4A-1FF830A3118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5B5AF5DA-1B9E-492C-B8F5-E927C8914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2563786-6301-4C05-89EB-8CAB10F45FEB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B58C55A3-D613-4C54-8E55-0AA096D82A5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738FC45B-B11E-4F6C-87DB-51D27ECF8E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5D71E7D6-7AF2-4F73-BBC6-11E536A49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24BC48A-12DC-479D-B6F6-3C09ABBB14D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819701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64EF1C35-2C10-49C8-BAF1-3FB843E3E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38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64EF1C35-2C10-49C8-BAF1-3FB843E3E00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Shadow">
            <a:extLst>
              <a:ext uri="{FF2B5EF4-FFF2-40B4-BE49-F238E27FC236}">
                <a16:creationId xmlns="" xmlns:a16="http://schemas.microsoft.com/office/drawing/2014/main" id="{1EE495CB-8BF9-48C4-AFA7-564C0DE78D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rowPanelWhite">
            <a:extLst>
              <a:ext uri="{FF2B5EF4-FFF2-40B4-BE49-F238E27FC236}">
                <a16:creationId xmlns="" xmlns:a16="http://schemas.microsoft.com/office/drawing/2014/main" id="{306D7973-E513-4D2B-B5CB-36FFE667C781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>
            <a:extLst>
              <a:ext uri="{FF2B5EF4-FFF2-40B4-BE49-F238E27FC236}">
                <a16:creationId xmlns="" xmlns:a16="http://schemas.microsoft.com/office/drawing/2014/main" id="{9FDBEADB-7E0F-48D6-B330-7D88ED9DE66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8B78555-20AD-43A3-BCFB-83DD4714AEE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ooterSimple" hidden="1">
            <a:extLst>
              <a:ext uri="{FF2B5EF4-FFF2-40B4-BE49-F238E27FC236}">
                <a16:creationId xmlns="" xmlns:a16="http://schemas.microsoft.com/office/drawing/2014/main" id="{469AAF24-E1FA-4D36-BC32-33EFD06B28A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="" xmlns:a16="http://schemas.microsoft.com/office/drawing/2014/main" id="{F0FF8015-FA11-45B8-BE59-0D0400DEA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CBDB7E5-C064-46F2-B8F5-D03EC46D0FC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677958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36239596-7FEF-404D-95FF-2A6F278A5527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34496225-2C62-47EF-BE4E-FD0FFCC51C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D789D72-4857-4653-8BCD-A74067CC08E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3C14EFCB-8BFD-45C1-858E-845CE062F2E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10">
            <a:extLst>
              <a:ext uri="{FF2B5EF4-FFF2-40B4-BE49-F238E27FC236}">
                <a16:creationId xmlns="" xmlns:a16="http://schemas.microsoft.com/office/drawing/2014/main" id="{99E93DFA-F1A9-4619-9B83-200E657D2A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FFA0BB95-102D-4F3B-93A7-61AAC0370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C71F6B7-23AC-43C6-8FCC-657AF28268C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546600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10EB22CF-57C3-4DD4-91B8-D3B0FB33F9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DF62081B-88B8-4A0D-B289-9077386CF24F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05E41AD-AA23-4355-852F-7EF2B2404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81FA6A7-2E38-49C5-BF20-BD6CF2F95E5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52DE6706-6627-4A3D-94D6-08492F2DC62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59C58543-A780-473D-80D9-18733B65B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39EF632-555A-4937-93FD-131EF3ADFB26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669739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5EEF873F-7324-4A4F-9566-4EB84BBFD3BA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8D4F287B-635E-4DC5-866B-5F8346D1AE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06DE5D4-75E5-47A3-9246-02092FC2867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3A20760F-9E22-4125-8535-4DCC4323EE7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7">
            <a:extLst>
              <a:ext uri="{FF2B5EF4-FFF2-40B4-BE49-F238E27FC236}">
                <a16:creationId xmlns="" xmlns:a16="http://schemas.microsoft.com/office/drawing/2014/main" id="{9BCD2C27-614C-44B8-81B4-416856F7B2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B216CBE1-BCC5-4AA5-84BA-0ED2AE152D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FD23437-AD02-4684-B9CB-1561C2AB2B5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799654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F19142E2-26B5-41AF-A900-CBE4E0CE2C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17D4331-3765-4958-88D6-7DCA7D5EAA1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D9CAF76E-6ED7-49F0-8AAB-6BFE24F427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1D5A6557-10B5-4E1E-AE7D-E11C1C58C2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5C2C046-8172-4ED9-9F93-93CE7B756E4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541077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896399D9-EB95-43A5-A141-4A14B32E2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896399D9-EB95-43A5-A141-4A14B32E2B7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0CE028C6-9316-4334-AD40-559748161B2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23ECCBE-37C9-4944-AD4A-71C470AEF8F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3FF51C59-C383-4ADE-89D8-C910A8630DB5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621DB2BA-04ED-4425-9383-EA7A877C3BD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EB507D0A-C873-4FC6-87DC-F884ED696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26ED1A0-4020-4755-A029-D45F9CFC4CE2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349721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C9B63E12-DF19-4696-99CA-E39C039631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age">
            <a:extLst>
              <a:ext uri="{FF2B5EF4-FFF2-40B4-BE49-F238E27FC236}">
                <a16:creationId xmlns="" xmlns:a16="http://schemas.microsoft.com/office/drawing/2014/main" id="{1F2BD589-E750-420F-8B6C-2F46D31B9DE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1E7197A-31FE-476F-B655-C11774705EE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Bubble">
            <a:extLst>
              <a:ext uri="{FF2B5EF4-FFF2-40B4-BE49-F238E27FC236}">
                <a16:creationId xmlns="" xmlns:a16="http://schemas.microsoft.com/office/drawing/2014/main" id="{8A62301F-64D5-4656-909F-7868EBB685E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5" name="Rectangle 9">
              <a:extLst>
                <a:ext uri="{FF2B5EF4-FFF2-40B4-BE49-F238E27FC236}">
                  <a16:creationId xmlns="" xmlns:a16="http://schemas.microsoft.com/office/drawing/2014/main" id="{54187FFE-852B-42D5-B5B3-0E5E50364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" name="Right Triangle 10">
              <a:extLst>
                <a:ext uri="{FF2B5EF4-FFF2-40B4-BE49-F238E27FC236}">
                  <a16:creationId xmlns="" xmlns:a16="http://schemas.microsoft.com/office/drawing/2014/main" id="{FE432931-EB94-440D-ABC1-C8DBEBEEB1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51B9E0F1-2B6B-46E2-BC17-B75767A17B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497213A-9B77-4B66-BF9B-533CD35CD70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860178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5C248CF0-6391-422A-83D1-AE4182DC3BCA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A0830BA-0015-4FD1-8296-74301310C9D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34DD893C-98AF-4371-8E69-4B03675C7ED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2">
            <a:extLst>
              <a:ext uri="{FF2B5EF4-FFF2-40B4-BE49-F238E27FC236}">
                <a16:creationId xmlns="" xmlns:a16="http://schemas.microsoft.com/office/drawing/2014/main" id="{EA08D734-A980-4D3C-BE8C-504BADED72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A4797F1-7099-4872-B124-B5C3EA0F865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753678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6F728652-4A7D-490F-A5B5-03020EA4B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8FD291DB-AAB3-4FAE-9916-7EF1A08E64FF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6A65C2C6-048A-4177-B05E-F2AAD35B0D8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FC0949F-AB6A-4F4E-93BB-709AF3EEA29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="" xmlns:a16="http://schemas.microsoft.com/office/drawing/2014/main" id="{8783D4D0-0106-46EB-892C-23670B1BBA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97925C19-A688-4550-A111-13AA22972CB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4E70EBBE-FF55-444B-9216-B7BED7B6CA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B0BBC5B-1881-440F-9FFF-CA2708D4806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00373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4E4FAA05-2AC7-4A2A-B6A0-00270DD64F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C11C9259-D0D2-49EF-BF15-877801BC9352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B11059DE-810A-4B75-9401-851CBF7DE9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6647BDC-B671-4363-8C38-A4107AF9218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F26FD186-36C9-4D61-9A02-5C9FFE0F029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681B74EE-D70B-459A-9888-ED9F5FAC8E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C52E365-2595-4E99-9A08-DFB8A35F5F1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784902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="" xmlns:a16="http://schemas.microsoft.com/office/drawing/2014/main" id="{B860FAA4-AC2E-46A1-B43E-0688E7D23E4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4665710-3B8C-479B-A96B-20E42A21B924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="" xmlns:a16="http://schemas.microsoft.com/office/drawing/2014/main" id="{8A96B3F7-5D16-43C6-AA56-2620A1BA000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Date Placeholder 4">
            <a:extLst>
              <a:ext uri="{FF2B5EF4-FFF2-40B4-BE49-F238E27FC236}">
                <a16:creationId xmlns="" xmlns:a16="http://schemas.microsoft.com/office/drawing/2014/main" id="{DA7F23F6-A9E2-49E5-98BB-13F23CB643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B46CAC9-A36B-488F-B693-BC980564B14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018821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CBC319EF-1DED-4DE4-A059-75347FF2A9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62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CBC319EF-1DED-4DE4-A059-75347FF2A97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3653EE22-A22C-4B7D-BC67-5487552880F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9535BA2-5767-422A-B006-EFECB34B9A1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DDD3AAD3-6BBD-4681-9EBF-4F2BD975200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Date Placeholder 6">
            <a:extLst>
              <a:ext uri="{FF2B5EF4-FFF2-40B4-BE49-F238E27FC236}">
                <a16:creationId xmlns="" xmlns:a16="http://schemas.microsoft.com/office/drawing/2014/main" id="{DE4ED44B-BCB7-4AED-A466-0ECC0674D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7D59FB5-3013-4535-A336-A2C735A3CF4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265051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5E37FA30-9E58-418E-B2C9-59F97663C7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6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5E37FA30-9E58-418E-B2C9-59F97663C7E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4AD822D7-E536-4D16-A3AF-4F91B04B74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9CF9F3D-FECD-4883-A2F6-687D9AC968F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B85A6E25-0656-4222-9655-312BC0FA553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022571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2264698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753F02E1-1265-44BD-9F18-CA344B854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69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753F02E1-1265-44BD-9F18-CA344B854B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B2BF94C9-7011-4355-BA6E-0740660ECC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AFAC814-4691-4DA5-B1D4-15B3DF435F7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A4Grid">
            <a:extLst>
              <a:ext uri="{FF2B5EF4-FFF2-40B4-BE49-F238E27FC236}">
                <a16:creationId xmlns="" xmlns:a16="http://schemas.microsoft.com/office/drawing/2014/main" id="{66CC4E93-99F1-4CA5-9FAB-9C7E7A3D11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" name="Slide edges">
              <a:extLst>
                <a:ext uri="{FF2B5EF4-FFF2-40B4-BE49-F238E27FC236}">
                  <a16:creationId xmlns="" xmlns:a16="http://schemas.microsoft.com/office/drawing/2014/main" id="{0A5BDD3F-214D-4FBA-BEBE-C2FC8FF7E0D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6" name="No-fly zone">
              <a:extLst>
                <a:ext uri="{FF2B5EF4-FFF2-40B4-BE49-F238E27FC236}">
                  <a16:creationId xmlns="" xmlns:a16="http://schemas.microsoft.com/office/drawing/2014/main" id="{7558184A-7568-46AD-929A-1826A66BB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="" xmlns:a16="http://schemas.microsoft.com/office/drawing/2014/main" id="{30DC89C6-D2EA-4D26-85ED-B6B7CFB4F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="" xmlns:a16="http://schemas.microsoft.com/office/drawing/2014/main" id="{D24ED774-D6DB-41C6-B1B0-127F6B62DE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9" name="Gutter space">
              <a:extLst>
                <a:ext uri="{FF2B5EF4-FFF2-40B4-BE49-F238E27FC236}">
                  <a16:creationId xmlns="" xmlns:a16="http://schemas.microsoft.com/office/drawing/2014/main" id="{02A120CC-09A5-4C84-AE35-E4E5904768B8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39" name="Gutter 11">
                <a:extLst>
                  <a:ext uri="{FF2B5EF4-FFF2-40B4-BE49-F238E27FC236}">
                    <a16:creationId xmlns="" xmlns:a16="http://schemas.microsoft.com/office/drawing/2014/main" id="{45105C15-6934-45F8-995A-7754AD8D9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0" name="Gutter 10">
                <a:extLst>
                  <a:ext uri="{FF2B5EF4-FFF2-40B4-BE49-F238E27FC236}">
                    <a16:creationId xmlns="" xmlns:a16="http://schemas.microsoft.com/office/drawing/2014/main" id="{1FB667D4-D267-4948-9CFF-7506203BCE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1" name="Gutter 9">
                <a:extLst>
                  <a:ext uri="{FF2B5EF4-FFF2-40B4-BE49-F238E27FC236}">
                    <a16:creationId xmlns="" xmlns:a16="http://schemas.microsoft.com/office/drawing/2014/main" id="{50E86792-EC68-4E24-A722-CDE3067E01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8">
                <a:extLst>
                  <a:ext uri="{FF2B5EF4-FFF2-40B4-BE49-F238E27FC236}">
                    <a16:creationId xmlns="" xmlns:a16="http://schemas.microsoft.com/office/drawing/2014/main" id="{9F23CB9C-4AC7-4EC6-97AE-7D58D8131E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7">
                <a:extLst>
                  <a:ext uri="{FF2B5EF4-FFF2-40B4-BE49-F238E27FC236}">
                    <a16:creationId xmlns="" xmlns:a16="http://schemas.microsoft.com/office/drawing/2014/main" id="{2BABDDC7-5ED9-4602-97F1-39FC76F544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6">
                <a:extLst>
                  <a:ext uri="{FF2B5EF4-FFF2-40B4-BE49-F238E27FC236}">
                    <a16:creationId xmlns="" xmlns:a16="http://schemas.microsoft.com/office/drawing/2014/main" id="{38D56FDC-4B22-4B05-8C32-46378FA3F2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5">
                <a:extLst>
                  <a:ext uri="{FF2B5EF4-FFF2-40B4-BE49-F238E27FC236}">
                    <a16:creationId xmlns="" xmlns:a16="http://schemas.microsoft.com/office/drawing/2014/main" id="{B30BB0BF-D396-468B-966C-9F23528216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4">
                <a:extLst>
                  <a:ext uri="{FF2B5EF4-FFF2-40B4-BE49-F238E27FC236}">
                    <a16:creationId xmlns="" xmlns:a16="http://schemas.microsoft.com/office/drawing/2014/main" id="{2D042640-EB65-4247-9C56-92775FD9C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3">
                <a:extLst>
                  <a:ext uri="{FF2B5EF4-FFF2-40B4-BE49-F238E27FC236}">
                    <a16:creationId xmlns="" xmlns:a16="http://schemas.microsoft.com/office/drawing/2014/main" id="{54CD7646-C384-4D73-B414-82A3F149F8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2">
                <a:extLst>
                  <a:ext uri="{FF2B5EF4-FFF2-40B4-BE49-F238E27FC236}">
                    <a16:creationId xmlns="" xmlns:a16="http://schemas.microsoft.com/office/drawing/2014/main" id="{E278D483-0082-4BA6-A0E7-24793ED0CB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1">
                <a:extLst>
                  <a:ext uri="{FF2B5EF4-FFF2-40B4-BE49-F238E27FC236}">
                    <a16:creationId xmlns="" xmlns:a16="http://schemas.microsoft.com/office/drawing/2014/main" id="{7EA98E06-6D79-4D70-AB98-F2AE41E9B0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Baselines/Anchors">
              <a:extLst>
                <a:ext uri="{FF2B5EF4-FFF2-40B4-BE49-F238E27FC236}">
                  <a16:creationId xmlns="" xmlns:a16="http://schemas.microsoft.com/office/drawing/2014/main" id="{B5A3B2C2-501B-487F-B55C-61C96C4C1EB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19" name="Line 20">
                <a:extLst>
                  <a:ext uri="{FF2B5EF4-FFF2-40B4-BE49-F238E27FC236}">
                    <a16:creationId xmlns="" xmlns:a16="http://schemas.microsoft.com/office/drawing/2014/main" id="{90A2B9D4-DBAF-4AD2-AE24-22532BFC8D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="" xmlns:a16="http://schemas.microsoft.com/office/drawing/2014/main" id="{090A37CD-3D64-40A5-A1CD-70869B713E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Line 18">
                <a:extLst>
                  <a:ext uri="{FF2B5EF4-FFF2-40B4-BE49-F238E27FC236}">
                    <a16:creationId xmlns="" xmlns:a16="http://schemas.microsoft.com/office/drawing/2014/main" id="{502E8F5C-F5DD-491C-B15C-BF7CC5AEB8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7">
                <a:extLst>
                  <a:ext uri="{FF2B5EF4-FFF2-40B4-BE49-F238E27FC236}">
                    <a16:creationId xmlns="" xmlns:a16="http://schemas.microsoft.com/office/drawing/2014/main" id="{E2410704-22F0-4100-928E-D17A256C78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6">
                <a:extLst>
                  <a:ext uri="{FF2B5EF4-FFF2-40B4-BE49-F238E27FC236}">
                    <a16:creationId xmlns="" xmlns:a16="http://schemas.microsoft.com/office/drawing/2014/main" id="{105C4CFB-8B07-4897-97C6-306EC36510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5">
                <a:extLst>
                  <a:ext uri="{FF2B5EF4-FFF2-40B4-BE49-F238E27FC236}">
                    <a16:creationId xmlns="" xmlns:a16="http://schemas.microsoft.com/office/drawing/2014/main" id="{D42B7E6F-90C6-4579-98C8-32B7F0B5B1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4">
                <a:extLst>
                  <a:ext uri="{FF2B5EF4-FFF2-40B4-BE49-F238E27FC236}">
                    <a16:creationId xmlns="" xmlns:a16="http://schemas.microsoft.com/office/drawing/2014/main" id="{BB799CA8-8AEC-4550-A4A6-86AEC79EB0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3">
                <a:extLst>
                  <a:ext uri="{FF2B5EF4-FFF2-40B4-BE49-F238E27FC236}">
                    <a16:creationId xmlns="" xmlns:a16="http://schemas.microsoft.com/office/drawing/2014/main" id="{814B9E1F-6D2E-43F8-AE95-8CD0CE0AFD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2">
                <a:extLst>
                  <a:ext uri="{FF2B5EF4-FFF2-40B4-BE49-F238E27FC236}">
                    <a16:creationId xmlns="" xmlns:a16="http://schemas.microsoft.com/office/drawing/2014/main" id="{CE4485F9-3A05-4188-B521-774604FF7C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1">
                <a:extLst>
                  <a:ext uri="{FF2B5EF4-FFF2-40B4-BE49-F238E27FC236}">
                    <a16:creationId xmlns="" xmlns:a16="http://schemas.microsoft.com/office/drawing/2014/main" id="{9454AA29-3582-4BF5-80A7-6483DB0FB2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="" xmlns:a16="http://schemas.microsoft.com/office/drawing/2014/main" id="{9585F4C3-AC65-4516-8AFB-0C441290BB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="" xmlns:a16="http://schemas.microsoft.com/office/drawing/2014/main" id="{B472C985-BE7D-4EF6-A659-620A4F083B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8">
                <a:extLst>
                  <a:ext uri="{FF2B5EF4-FFF2-40B4-BE49-F238E27FC236}">
                    <a16:creationId xmlns="" xmlns:a16="http://schemas.microsoft.com/office/drawing/2014/main" id="{33FE3D9E-3EB0-4211-B926-BD2EEA5C4D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7">
                <a:extLst>
                  <a:ext uri="{FF2B5EF4-FFF2-40B4-BE49-F238E27FC236}">
                    <a16:creationId xmlns="" xmlns:a16="http://schemas.microsoft.com/office/drawing/2014/main" id="{E1F14F61-E325-42D2-AD8C-2DE6C23049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6">
                <a:extLst>
                  <a:ext uri="{FF2B5EF4-FFF2-40B4-BE49-F238E27FC236}">
                    <a16:creationId xmlns="" xmlns:a16="http://schemas.microsoft.com/office/drawing/2014/main" id="{DE9F8A4C-2036-46A2-A5B4-6A63466248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5">
                <a:extLst>
                  <a:ext uri="{FF2B5EF4-FFF2-40B4-BE49-F238E27FC236}">
                    <a16:creationId xmlns="" xmlns:a16="http://schemas.microsoft.com/office/drawing/2014/main" id="{AA3D7E59-95FB-44BE-AE73-3FD5DA2777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4">
                <a:extLst>
                  <a:ext uri="{FF2B5EF4-FFF2-40B4-BE49-F238E27FC236}">
                    <a16:creationId xmlns="" xmlns:a16="http://schemas.microsoft.com/office/drawing/2014/main" id="{8E40BEE3-1476-4071-9A2C-01DC9E32FF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3">
                <a:extLst>
                  <a:ext uri="{FF2B5EF4-FFF2-40B4-BE49-F238E27FC236}">
                    <a16:creationId xmlns="" xmlns:a16="http://schemas.microsoft.com/office/drawing/2014/main" id="{92F6AEE8-00CA-4DAF-ADDB-1F6999E8A7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2">
                <a:extLst>
                  <a:ext uri="{FF2B5EF4-FFF2-40B4-BE49-F238E27FC236}">
                    <a16:creationId xmlns="" xmlns:a16="http://schemas.microsoft.com/office/drawing/2014/main" id="{9ADBFC5B-B9E9-4FAB-8F68-C190638CB0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1">
                <a:extLst>
                  <a:ext uri="{FF2B5EF4-FFF2-40B4-BE49-F238E27FC236}">
                    <a16:creationId xmlns="" xmlns:a16="http://schemas.microsoft.com/office/drawing/2014/main" id="{19E37BFE-1BC4-47B5-8D1A-CF2203C191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Five column measure">
              <a:extLst>
                <a:ext uri="{FF2B5EF4-FFF2-40B4-BE49-F238E27FC236}">
                  <a16:creationId xmlns="" xmlns:a16="http://schemas.microsoft.com/office/drawing/2014/main" id="{AA5CD37D-DDA3-4683-A382-5A420B78C79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4" name="Column 5">
                <a:extLst>
                  <a:ext uri="{FF2B5EF4-FFF2-40B4-BE49-F238E27FC236}">
                    <a16:creationId xmlns="" xmlns:a16="http://schemas.microsoft.com/office/drawing/2014/main" id="{0A1743D9-2F7A-4922-9A19-7FCD47B83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5" name="Column 4">
                <a:extLst>
                  <a:ext uri="{FF2B5EF4-FFF2-40B4-BE49-F238E27FC236}">
                    <a16:creationId xmlns="" xmlns:a16="http://schemas.microsoft.com/office/drawing/2014/main" id="{3D5FBD8A-666B-4036-AA26-F3B89EE1A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6" name="Column 3">
                <a:extLst>
                  <a:ext uri="{FF2B5EF4-FFF2-40B4-BE49-F238E27FC236}">
                    <a16:creationId xmlns="" xmlns:a16="http://schemas.microsoft.com/office/drawing/2014/main" id="{007F9821-EC9E-4FDB-94F0-926B96A89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2">
                <a:extLst>
                  <a:ext uri="{FF2B5EF4-FFF2-40B4-BE49-F238E27FC236}">
                    <a16:creationId xmlns="" xmlns:a16="http://schemas.microsoft.com/office/drawing/2014/main" id="{81B0E6C7-46A2-451B-936B-CC897CE0C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1">
                <a:extLst>
                  <a:ext uri="{FF2B5EF4-FFF2-40B4-BE49-F238E27FC236}">
                    <a16:creationId xmlns="" xmlns:a16="http://schemas.microsoft.com/office/drawing/2014/main" id="{75C1E7E8-6BAA-47DC-8448-EEDDBB6D7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2" name="Live space">
              <a:extLst>
                <a:ext uri="{FF2B5EF4-FFF2-40B4-BE49-F238E27FC236}">
                  <a16:creationId xmlns="" xmlns:a16="http://schemas.microsoft.com/office/drawing/2014/main" id="{F5A71D94-0F8F-4C28-B154-108A6475DD26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="" xmlns:a16="http://schemas.microsoft.com/office/drawing/2014/main" id="{2CCAA811-4D6B-47F1-8061-5626884B69B4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0" name="FooterSimple" hidden="1">
            <a:extLst>
              <a:ext uri="{FF2B5EF4-FFF2-40B4-BE49-F238E27FC236}">
                <a16:creationId xmlns="" xmlns:a16="http://schemas.microsoft.com/office/drawing/2014/main" id="{A2D4BB2F-E94B-44B9-ABE5-6EAA0F82718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1" name="Date Placeholder 1">
            <a:extLst>
              <a:ext uri="{FF2B5EF4-FFF2-40B4-BE49-F238E27FC236}">
                <a16:creationId xmlns="" xmlns:a16="http://schemas.microsoft.com/office/drawing/2014/main" id="{C013896D-34CF-4AB4-9FBC-7949F2824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55E5BA4-A26C-4BAC-9752-15F8F8B7C24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513113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4E802FCC-925F-40CB-915F-0F574C83D9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17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4E802FCC-925F-40CB-915F-0F574C83D9B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09AEB415-3FBF-4255-B7C9-68DC29B0071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EE2CE17-156E-436B-BE32-A8AC5896FD6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ED04DEF3-A9E1-41A5-9E65-95825D98BA5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="" xmlns:a16="http://schemas.microsoft.com/office/drawing/2014/main" id="{9C7CCE99-48AD-41B4-A61A-2C8B37295E0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66265216-CB20-413B-9276-53E5DC9FF03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="" xmlns:a16="http://schemas.microsoft.com/office/drawing/2014/main" id="{95C4289E-01CF-4E4E-B8A6-3D0692FC86C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90076353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DB9F7332-6356-4E29-BF9B-885E38517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41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DB9F7332-6356-4E29-BF9B-885E38517D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05FB3A14-B8CF-49B4-92CF-89022DDF0C9D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068B98F-6A7E-47A0-8238-E3BD5726913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1E26B84C-4286-4217-BFA2-4FE4E96168A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="" xmlns:a16="http://schemas.microsoft.com/office/drawing/2014/main" id="{BFA8A6BE-F3A8-4B2E-A788-01C2E16BCE8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3302D743-E3F7-46F7-A265-896B1FF6054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687278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45763FAC-83CA-47E6-B15D-6A93370A0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765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45763FAC-83CA-47E6-B15D-6A93370A0FE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8B6AB465-813A-4751-AB61-EFEFD842CCBA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33D96F8-CDC1-403C-96E1-E53193656F1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5D023D7E-C9DF-4352-BDC8-5C26BA7A2E3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Straight Connector 9">
            <a:extLst>
              <a:ext uri="{FF2B5EF4-FFF2-40B4-BE49-F238E27FC236}">
                <a16:creationId xmlns="" xmlns:a16="http://schemas.microsoft.com/office/drawing/2014/main" id="{45DFA690-8AB1-4286-82F3-88ADB8114507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459CC16B-19A9-4912-ADD8-0FBD7A6D4FC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95044671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07F40722-825F-4062-9B76-47ECEC9A9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78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07F40722-825F-4062-9B76-47ECEC9A92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5DA124B6-8E6E-4CCF-A181-44E70B29B33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0CFDB916-58AE-41B4-9801-A3A239FA53D0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90FA6D54-CAEF-40F0-8290-9CBA52D6D80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5BBE5C2-D9A2-47DF-84B7-BA6712B0C3D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5F1F786-490E-4441-B028-98768C7F729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extBox 14">
            <a:extLst>
              <a:ext uri="{FF2B5EF4-FFF2-40B4-BE49-F238E27FC236}">
                <a16:creationId xmlns="" xmlns:a16="http://schemas.microsoft.com/office/drawing/2014/main" id="{9231EE9A-3D3E-46B4-87F1-759CE251FD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8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29250535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FA6986A2-C8A2-4CC2-A9A2-7339F8E98A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047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FA6986A2-C8A2-4CC2-A9A2-7339F8E98AB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177F7C19-EE4A-45AE-A943-430072B3AA7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6019242-AE1C-4362-9E5B-B15266188DC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F7F85E36-E8C5-4E6A-8A77-2D6AA3318A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04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F7F85E36-E8C5-4E6A-8A77-2D6AA3318A2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F7EDCBE5-7908-4CF2-A5F2-3169BAA5DE4B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E1C9DF76-8D0C-4C7E-B801-4034F398136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8B5C6F16-5133-40C5-822F-F3ABA4F084D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="" xmlns:a16="http://schemas.microsoft.com/office/drawing/2014/main" id="{1D7D09D7-1315-46EF-883B-8C198C550927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2749789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40C46AD5-1F1B-481D-93E4-056F41A3392F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F92D0DC4-907F-43DE-990F-92A858F53A2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DF6D1C1-C469-4E0D-8846-C66EABE7AF8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F226F63D-272A-4E5C-AB52-60F7814D1F4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8">
            <a:extLst>
              <a:ext uri="{FF2B5EF4-FFF2-40B4-BE49-F238E27FC236}">
                <a16:creationId xmlns="" xmlns:a16="http://schemas.microsoft.com/office/drawing/2014/main" id="{AC9F0FD7-5685-4641-8250-B1BC34F4EF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49BBFA67-2437-4C0B-81A4-B1D6B2EEB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8BF3C5F-9DAC-4AE4-A23F-CCA6E5FA554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672890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A909F490-EDE9-4BF3-8605-EB8A820C3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071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A909F490-EDE9-4BF3-8605-EB8A820C32B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1AC79565-E8CC-4043-96C2-3F8074E4F43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884740E-CCB5-40B7-950E-CD1697F66A0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23A76C7D-2363-44C5-95AF-47CF7842C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07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23A76C7D-2363-44C5-95AF-47CF7842C8D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258BA61D-7B63-4586-9127-97CAC1676BA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328DF48B-D86D-4CFB-AC15-9272ABC1D8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0E9A574D-ADAF-4EDD-B0A2-6A9D3D032FED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682224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934DA26D-032A-42F8-B77B-DEBC450EC2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095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934DA26D-032A-42F8-B77B-DEBC450EC2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AE09F5B2-7214-4658-AF12-F94BF2D80D4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7EF8C8D-A921-4A39-B664-C368819DDF7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0D98E165-2020-49F4-A94A-412C5123C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09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0D98E165-2020-49F4-A94A-412C5123CA2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10D3EA9E-8BC1-471D-B76B-88295FBDB944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6" name="Straight Connector 7">
            <a:extLst>
              <a:ext uri="{FF2B5EF4-FFF2-40B4-BE49-F238E27FC236}">
                <a16:creationId xmlns="" xmlns:a16="http://schemas.microsoft.com/office/drawing/2014/main" id="{E7B4CCF7-F6EC-42DF-861E-6924DE041E1E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1A985351-DE61-4153-A7F6-51879983514F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00188628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74ED654-2433-46CE-B3CE-9E20900F29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88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474ED654-2433-46CE-B3CE-9E20900F296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AB11AE29-CFFA-4A9A-8EFB-DAEF9EA7DA5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E4824844-8C6E-4E3A-8C74-FDC1A068B4E7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302467EB-04A3-46EB-9A3A-AF6458F6A3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9F178A7-FFEE-435E-8F5E-BE5A2090D5F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8B7F40F-7DCA-44D8-AC39-0D9870E3FEBF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extBox 14">
            <a:extLst>
              <a:ext uri="{FF2B5EF4-FFF2-40B4-BE49-F238E27FC236}">
                <a16:creationId xmlns="" xmlns:a16="http://schemas.microsoft.com/office/drawing/2014/main" id="{D4EF698F-AFEA-4F08-9FF4-FFAA97441F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4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28697962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968B45CD-B273-4700-8D0D-3351D32F0C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90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968B45CD-B273-4700-8D0D-3351D32F0CB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C42F7132-CD8B-4B49-866F-FD7FB00D1D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75431AEC-1FC3-46B4-B2E7-96A0A1130051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B7471760-9753-4C16-AD3C-CB3A6B0E3BD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CAE3F15-3B7A-4696-BA6B-EB56E192C0E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="" xmlns:a16="http://schemas.microsoft.com/office/drawing/2014/main" id="{F41CF5C6-3C24-4569-B0E4-5E906422CF6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5623ABF1-0B4B-464F-BD61-5517AB8C759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804414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="" xmlns:a16="http://schemas.microsoft.com/office/drawing/2014/main" id="{1EBCEABA-4DD9-4B1C-A475-D9CCE7A32E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93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="" xmlns:a16="http://schemas.microsoft.com/office/drawing/2014/main" id="{1EBCEABA-4DD9-4B1C-A475-D9CCE7A32E3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age">
            <a:extLst>
              <a:ext uri="{FF2B5EF4-FFF2-40B4-BE49-F238E27FC236}">
                <a16:creationId xmlns="" xmlns:a16="http://schemas.microsoft.com/office/drawing/2014/main" id="{E21D474C-FE17-435F-8F43-82D650AC6D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A069FD1-1B1A-4F9F-9514-F51542CC93D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8" y="1508760"/>
            <a:ext cx="11074087" cy="4590288"/>
          </a:xfrm>
        </p:spPr>
        <p:txBody>
          <a:bodyPr/>
          <a:lstStyle>
            <a:lvl1pPr>
              <a:spcBef>
                <a:spcPts val="312"/>
              </a:spcBef>
              <a:defRPr/>
            </a:lvl1pPr>
            <a:lvl2pPr marL="371475" indent="-187200">
              <a:spcBef>
                <a:spcPts val="312"/>
              </a:spcBef>
              <a:defRPr/>
            </a:lvl2pPr>
            <a:lvl3pPr marL="742950" indent="-187200">
              <a:spcBef>
                <a:spcPts val="312"/>
              </a:spcBef>
              <a:defRPr/>
            </a:lvl3pPr>
            <a:lvl4pPr marL="1117350" indent="-190125">
              <a:spcBef>
                <a:spcPts val="312"/>
              </a:spcBef>
              <a:defRPr/>
            </a:lvl4pPr>
            <a:lvl5pPr marL="1673100" indent="-187200">
              <a:spcBef>
                <a:spcPts val="312"/>
              </a:spcBef>
              <a:defRPr/>
            </a:lvl5pPr>
          </a:lstStyle>
          <a:p>
            <a:pPr lvl="0"/>
            <a:r>
              <a:rPr lang="ru"/>
              <a:t>Click to edit Master text styles</a:t>
            </a:r>
          </a:p>
          <a:p>
            <a:pPr lvl="1"/>
            <a:r>
              <a:rPr lang="ru"/>
              <a:t>Second level</a:t>
            </a:r>
          </a:p>
          <a:p>
            <a:pPr lvl="2"/>
            <a:r>
              <a:rPr lang="ru"/>
              <a:t>Third level</a:t>
            </a:r>
          </a:p>
          <a:p>
            <a:pPr lvl="3"/>
            <a:r>
              <a:rPr lang="ru"/>
              <a:t>Fourth level</a:t>
            </a:r>
          </a:p>
          <a:p>
            <a:pPr lvl="4"/>
            <a:r>
              <a:rPr lang="ru"/>
              <a:t>Fifth level</a:t>
            </a:r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368151777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="" xmlns:a16="http://schemas.microsoft.com/office/drawing/2014/main" id="{E4BD2CF1-411E-4397-A516-760D84BE4519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="" xmlns:a16="http://schemas.microsoft.com/office/drawing/2014/main" id="{C66AE8A6-F003-4439-AA2D-82F3D43FBE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6196F826-4B8C-4D70-97D9-2A5711EB66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="" xmlns:a16="http://schemas.microsoft.com/office/drawing/2014/main" id="{E9129BDD-87CD-4C11-8643-53628387FE09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="" xmlns:a16="http://schemas.microsoft.com/office/drawing/2014/main" id="{FC5230E6-F05A-4277-9700-5915DA55E9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="" xmlns:a16="http://schemas.microsoft.com/office/drawing/2014/main" id="{BB54A4A7-18AB-418B-A3EF-FD27284983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364465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E4BE1097-5AC2-468A-A81F-D9F046C36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00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E4BE1097-5AC2-468A-A81F-D9F046C361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A62D6AFB-1804-4F55-A0BF-9A0A1976E31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164CD20-5A83-46C0-B054-74F7F7385FA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11541E5-EFC1-4DE0-8A5A-C9063BC8C04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E0A21986-98CF-4036-A877-80895EA33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DEC2570-8A15-471C-B8D2-3920A01F072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737714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13129CA0-6FBC-4174-A510-81B5685361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02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13129CA0-6FBC-4174-A510-81B5685361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DC3568E5-77BA-469E-BD0F-886E5AE6316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62FFBA9-405A-4B91-90D3-9D166B9F1ED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6E5EFA04-C612-423A-AEF6-225F9E2A935A}"/>
              </a:ext>
            </a:extLst>
          </p:cNvPr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103922F3-5388-4697-82F3-2C5C2D52B12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77C6DCDA-E673-4624-B4EB-E2A66D3FC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45EDF0F-3A82-4781-8C07-5DC6AE150EFA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33866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1E844649-6026-41BF-8D7D-3A3423863A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AB3204A-7105-427D-A30A-2D2565F047C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Square">
            <a:extLst>
              <a:ext uri="{FF2B5EF4-FFF2-40B4-BE49-F238E27FC236}">
                <a16:creationId xmlns="" xmlns:a16="http://schemas.microsoft.com/office/drawing/2014/main" id="{90DE883B-B561-4C82-AF6A-7ECEA1675748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F6F88009-6949-4A78-8DE3-7D2C4B2B547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2">
            <a:extLst>
              <a:ext uri="{FF2B5EF4-FFF2-40B4-BE49-F238E27FC236}">
                <a16:creationId xmlns="" xmlns:a16="http://schemas.microsoft.com/office/drawing/2014/main" id="{E31E4CE4-FAD1-4159-B319-1737E9583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3718D50-DBA6-434E-BDB3-5C90FD86EF1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375099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E3A7F146-ED51-42A0-BCBE-7A829FDF8E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BA9B8B5-1EC9-4C21-9E5D-F9D22E27E49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="" xmlns:a16="http://schemas.microsoft.com/office/drawing/2014/main" id="{5D2735DB-E17D-45C8-8F80-2B4EA0D95F7D}"/>
              </a:ext>
            </a:extLst>
          </p:cNvPr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67555CCC-905E-41C6-95B1-A6F2FF315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11AD849-6DF8-4C4A-9CDF-7DEC4E1FDA8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27793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880273D3-D425-4BEF-9DE2-3E3D6161A3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8211B28B-0E56-4827-934F-B5E2B90A8D01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1BAC364A-C13E-485F-A485-EE90DC2392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5733E08-B632-4B80-A36E-E566DAC11A4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5E3DCBE-6500-4946-B842-B37E0A64762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C64C2E39-7776-420B-A151-BEC1B30C16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23BD19E-2DC8-4AD3-B503-F9D63C4238C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205458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3F77D57E-C467-4BC6-B367-7ACFD600E8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8F8B1440-AADB-4F7F-AC61-6CA290D32664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1172BA4-E31B-457A-953F-14403ECE51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64F6EA0-1A5D-42D5-BC0D-9F2E622D69B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630A69B2-4D64-4541-878A-DAB056E92C3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D948D20E-735A-4B1E-A86A-BC4715BCC4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9536B7A-A8F9-4A6E-984F-B89CAC97C6D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603464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69864F39-E417-4DDF-A196-877D96EB343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61294AB3-B4F3-4237-96E4-96B6EE77036D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36F3A044-D202-4661-855A-335F9D819B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03298DC-521A-492B-96F5-BAEC4737636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84F6552D-E697-4CA5-A4E6-95FD0076937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CB902A4F-6E86-4CE4-9337-F2125B84A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A344B55-5D5E-43D1-9DEB-E1474D99B136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724940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E561ADA7-8B7D-4C2C-98C8-127A6E298A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149C907F-E019-467E-8261-BA5DC828CC5C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2CDEA412-1657-4E6C-AA8C-200B0398D0B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5F8C332-8368-4F81-A840-C4186BF917A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7B9FE2C-DA1D-43E1-A487-E781FB43C66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93EBDE79-F726-4EAD-B83D-0A9E01DD15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C146EA3-67E7-4076-B693-078E562CC693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682816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E7062BE6-4C13-43DF-A1CA-6871D1F7B8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BFDCD686-E5D2-42E9-A814-0719CCF9403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9">
            <a:extLst>
              <a:ext uri="{FF2B5EF4-FFF2-40B4-BE49-F238E27FC236}">
                <a16:creationId xmlns="" xmlns:a16="http://schemas.microsoft.com/office/drawing/2014/main" id="{854271EA-37FE-455E-B6A4-4FF78C1434F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4E7EC46-77F0-49E4-9B77-F5E998503EE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D94D5FCF-65FD-415A-B1C0-03B8BF1B7AB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2F671A2E-027E-4B83-A82A-3CC342A6DD2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9EF2323-A547-42C3-83C6-76A5A6D22EF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388574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D3A3102F-F902-4CD8-9672-91DDF24C40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891479B9-B536-49D2-9290-087742EE88EB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CCB1DF6A-7404-4724-A70C-F822206A25E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CB9BF70-1C08-46A6-9A72-AF93C3ADF90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B50BBBB4-E6A2-41A2-A786-6FC758CDA97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C5170E6E-DC62-4B3C-B84E-3C07926B3DD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EEF7074-0F1B-4854-B318-803B2CB44F6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48545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019A8432-11B4-4785-91A4-481F8059D3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BC754CE3-8DC8-4CFD-ABFD-A612F94C8B12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3BE23791-90C9-45BF-BF6B-C672FCA63C9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B2E97FD-0120-4FB7-80EF-EFA28624D70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45055885-4A22-441D-9B02-4968F0ADE45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F5763434-6650-4093-A74C-8DFE82B6A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F4445C9-D601-444D-9F50-50E85532B953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279428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E43FF260-3DCB-40FA-9CAF-493F74E3F71C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E1890E69-979A-4749-A517-8A1A9A5635D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CBAB2C7-A83C-4D4E-A914-D644C076DFA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6A52C97A-D0F2-4215-94E4-0D3FA833A4A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695BD8E9-AD43-4097-9A12-812336D10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34D1F14A-F964-4C75-94C5-19B5EF5894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DBE47DC-81CE-4856-99A9-371B1E5F2E1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12626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BB7147F8-ACA4-4D46-BC4B-C2C3B742F8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E464862E-DDE3-4EB9-8B21-BED61CF0622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8CD88695-2174-4D06-BD9D-9FA94F97A6B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9221516-E815-4B1B-A1CC-EA14C55AE26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F910BE18-105F-4FCD-8BD7-38AD9F5B88F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945B2572-D9C1-4508-8F8F-DDE5B9273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A497F3E-DE4E-4FC9-9A8C-59D6B70366C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804409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AA69B082-23C8-4F46-BAB4-8C626E10CD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80F129D5-E90D-4EB0-B12A-3DE1C98F32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262049E-E0A1-486A-A6BE-10A497FEA63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9DE66E56-7638-4D16-9750-127BE383913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588184B3-AF1B-4373-B144-89CF31AEC2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934096A9-F028-474C-9F40-68C04342C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E9495E9-7F83-4859-84A3-736762871E6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725529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065BBD7C-29E7-4B9A-9EB4-0B8444E797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E19C069E-23AE-4DF1-B069-990BAB0FBB45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A2C54651-E83E-43CE-994A-8CA3F34E3D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816D685-2946-4742-814C-5DFADEF34F9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A37B8F66-6C7B-46DE-BA0E-2FCBC7EE30B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950F33BE-772E-4101-9899-6E6D5C6FF3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F488617-A8F3-423F-94F7-508519BBF35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24446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E9BB4DC6-CE31-41C6-A904-ACB377A497B7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8A2AF96D-7C24-460D-AFAB-693A4922932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D29F349-E62A-4646-8271-C52B0AD8B5F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61651352-1F50-46F4-8EA8-6831B32CEEC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9">
            <a:extLst>
              <a:ext uri="{FF2B5EF4-FFF2-40B4-BE49-F238E27FC236}">
                <a16:creationId xmlns="" xmlns:a16="http://schemas.microsoft.com/office/drawing/2014/main" id="{92E2FB34-38F8-4F66-BB42-DD1BB45BB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23FEE2ED-9D30-49D6-85D6-7E541D595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BF8580E-206F-4BC5-8A1E-D17E32BABF82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01224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4CF30730-E8AD-4B83-8FB4-EA8810ECE8F8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FB96F07A-59E4-4086-9BB6-51F2721251D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7FC9DF0-D913-4600-BC31-A9DB216B2FD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4A684CC1-C50C-46A0-8692-0EA446D520A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8">
            <a:extLst>
              <a:ext uri="{FF2B5EF4-FFF2-40B4-BE49-F238E27FC236}">
                <a16:creationId xmlns="" xmlns:a16="http://schemas.microsoft.com/office/drawing/2014/main" id="{D8F03D19-3468-46A7-A2B8-EF782C5A3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04BA8D9C-E161-411B-B0D1-D9BF9F7AD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3C49577-09E3-4F67-B3F7-3A87E42DE07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68590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16697BC9-59FC-4027-BF71-A7B23918FF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F4405889-BB62-468B-8D0E-D12AA8756009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7A2A439B-89B1-423B-9BE5-99D68FA67CB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FA834F8-973B-459C-A141-9A717ECC1AD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1F85FFD0-B59F-4BEE-8122-9EA4B66F666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885A7E8B-C810-4C1D-ACB5-57302C288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F8F8A0E-7F82-49EF-8579-1EA3AC359BF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133914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66442C93-4492-4D9C-9E94-92F92BF85DAE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3E4CA67D-0F2E-4B32-A861-EED0C3D539B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0FE74BB-26BF-44B7-8308-B78615AA305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44A8CEEF-CAC1-4BBB-B60C-C4840D431B4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9">
            <a:extLst>
              <a:ext uri="{FF2B5EF4-FFF2-40B4-BE49-F238E27FC236}">
                <a16:creationId xmlns="" xmlns:a16="http://schemas.microsoft.com/office/drawing/2014/main" id="{7148D7D1-A20B-4C6A-9217-C8D43BF52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4849A51E-1FBD-4E7C-B61A-235C9C6F1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F5FB41D-3AE8-4750-B678-9393A88E8AC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385850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356F4254-F577-43A8-82D6-05AD0149EF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6B8A3DC-13CC-47AF-A9AA-FF303CCBADE4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FEFBD721-2824-498E-9760-CE672163053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8AC14DAC-A5D2-4D6F-87F8-4D652A7726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C6BEFBF-838B-44D7-9C4B-8B497A013E0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161634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90DF58F1-E42F-4DE2-9B88-1F35A3D2D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3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90DF58F1-E42F-4DE2-9B88-1F35A3D2D2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3203C9FF-3B8D-4810-B83E-32DC46573F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043440F-E746-4565-B65C-D8A84627644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7C9F850D-7C02-44D6-9F96-DED875072197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9066C3C5-A1F2-4D26-844F-E421632421B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A6294603-76B5-4810-ABAA-A372744EB2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B472AB8-5460-4614-B6BF-2C4666BF1F6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631400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CC40FA71-0EAD-4F5E-BAC7-E576550B8E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Bubble">
            <a:extLst>
              <a:ext uri="{FF2B5EF4-FFF2-40B4-BE49-F238E27FC236}">
                <a16:creationId xmlns="" xmlns:a16="http://schemas.microsoft.com/office/drawing/2014/main" id="{DFFCC264-B2DA-4CF7-9BA6-E6FCD619993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03A5941A-8C02-4ED6-A3C7-CCEE9CEFB2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" name="Right Triangle 55">
              <a:extLst>
                <a:ext uri="{FF2B5EF4-FFF2-40B4-BE49-F238E27FC236}">
                  <a16:creationId xmlns="" xmlns:a16="http://schemas.microsoft.com/office/drawing/2014/main" id="{40AD52C9-ED5F-450E-9980-D5293C4736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" name="Page">
            <a:extLst>
              <a:ext uri="{FF2B5EF4-FFF2-40B4-BE49-F238E27FC236}">
                <a16:creationId xmlns="" xmlns:a16="http://schemas.microsoft.com/office/drawing/2014/main" id="{27393D23-2025-442C-BA97-6DA559B991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243849A-E29A-48BE-A712-4711C7C987F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033578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EF328482-D88A-40A6-A549-2B242041A76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F6ABDEC-2AF7-4118-8AD1-ABC269C25997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AC533B4B-940F-47E2-A3F1-A5194750CD7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="" xmlns:a16="http://schemas.microsoft.com/office/drawing/2014/main" id="{BC721208-044A-41B9-BB3F-5097B871C18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71418EC-129A-4AA6-AD5D-6AA31AAD3756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024999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24AC40FD-F155-4A3F-AAF5-56F844050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0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24AC40FD-F155-4A3F-AAF5-56F8440504C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939E1CCD-CE85-4DC4-87E5-65B28E8FB4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D8AAB57-755C-4D4B-879A-20B088DC1CD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137B7B71-3F26-4316-9FED-B1F968CD6CA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0AFB30F3-6DB4-4EBD-B2CC-30773CE89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E6883AC-9EA9-43E7-9AE9-6C64AFAE345A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207484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="" xmlns:a16="http://schemas.microsoft.com/office/drawing/2014/main" id="{BF16A4CD-BFEB-4EF6-82DE-7635B7D4802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E7E679E-CD46-4924-A450-48E2BD0D668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="" xmlns:a16="http://schemas.microsoft.com/office/drawing/2014/main" id="{0558717F-1D9E-48FC-9415-2071F6A6A04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Date Placeholder 1">
            <a:extLst>
              <a:ext uri="{FF2B5EF4-FFF2-40B4-BE49-F238E27FC236}">
                <a16:creationId xmlns="" xmlns:a16="http://schemas.microsoft.com/office/drawing/2014/main" id="{B7515F4F-AA1D-4E6A-9D65-4634D1DB9C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A135834-B819-40C8-B112-D4FAFAEBF35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771502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02FF7C8D-0E48-4D11-AA63-20A89AD45F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5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02FF7C8D-0E48-4D11-AA63-20A89AD45F9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3BDF935D-E4FE-42DF-BA35-D2C1642D85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3852295-E38D-454E-A467-4648CEF3262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79FFF85F-DDA1-4173-87AE-164A8F20CC9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535441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CAF76F1-9412-4D01-B46F-C5687DC02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216162-93E0-4B38-9427-4FEEC289DAD6}" type="datetime1">
              <a:rPr lang="en-US" smtClean="0"/>
              <a:t>5/22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D806FA2-307F-442B-9017-64792EFA1D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22607A9-7A33-4CCF-8A5D-A8882CF4F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CB03FB-B0E0-4B76-A0EA-AD34A4E07CF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529306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9A306D9C-49AA-4469-9F5F-71049DD45F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9CFBCC7-9639-44BC-955E-2737E954AB6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3B490F4F-BDCF-4C79-8D47-F1EC9108267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421871B5-3976-48AF-BCC1-92CB3A604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9E32865-6319-4BA8-BA3C-7AF30B5EE6F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174513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807030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DD60793-7FAA-4C69-BEF5-2BBACE112D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0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DD60793-7FAA-4C69-BEF5-2BBACE112D1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49099A4F-8823-4DA1-98B6-F6E4BF8E5A0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A8E125F-67D0-4286-A93D-A3609AA4D7B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="" xmlns:a16="http://schemas.microsoft.com/office/drawing/2014/main" id="{BE2EC3D3-783B-44E9-831E-473FCFA69B0F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52769" y="3921919"/>
            <a:ext cx="5133975" cy="96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83C56D26-012D-4902-814F-081A9815F2A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6" name="A4Grid">
            <a:extLst>
              <a:ext uri="{FF2B5EF4-FFF2-40B4-BE49-F238E27FC236}">
                <a16:creationId xmlns="" xmlns:a16="http://schemas.microsoft.com/office/drawing/2014/main" id="{83714997-EDBC-43C1-A2D4-442A9F1CD26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>
              <a:extLst>
                <a:ext uri="{FF2B5EF4-FFF2-40B4-BE49-F238E27FC236}">
                  <a16:creationId xmlns="" xmlns:a16="http://schemas.microsoft.com/office/drawing/2014/main" id="{68F022F8-93E6-4674-B9F7-0AAE262657A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No-fly zone">
              <a:extLst>
                <a:ext uri="{FF2B5EF4-FFF2-40B4-BE49-F238E27FC236}">
                  <a16:creationId xmlns="" xmlns:a16="http://schemas.microsoft.com/office/drawing/2014/main" id="{92E280C5-5F1C-470D-836F-FD657194B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="" xmlns:a16="http://schemas.microsoft.com/office/drawing/2014/main" id="{713EED2D-2335-4DA5-AAE1-5710F0769D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="" xmlns:a16="http://schemas.microsoft.com/office/drawing/2014/main" id="{E29A8403-3925-4244-894E-1D8F8DBC9A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11" name="Gutter space">
              <a:extLst>
                <a:ext uri="{FF2B5EF4-FFF2-40B4-BE49-F238E27FC236}">
                  <a16:creationId xmlns="" xmlns:a16="http://schemas.microsoft.com/office/drawing/2014/main" id="{3B3BE8AE-914B-43FD-A73D-C8E3D8DA3B26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>
                <a:extLst>
                  <a:ext uri="{FF2B5EF4-FFF2-40B4-BE49-F238E27FC236}">
                    <a16:creationId xmlns="" xmlns:a16="http://schemas.microsoft.com/office/drawing/2014/main" id="{58D109E3-77A6-46A5-9249-D380174856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10">
                <a:extLst>
                  <a:ext uri="{FF2B5EF4-FFF2-40B4-BE49-F238E27FC236}">
                    <a16:creationId xmlns="" xmlns:a16="http://schemas.microsoft.com/office/drawing/2014/main" id="{FA53C12A-490A-42EC-B8A2-18F703AF1E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9">
                <a:extLst>
                  <a:ext uri="{FF2B5EF4-FFF2-40B4-BE49-F238E27FC236}">
                    <a16:creationId xmlns="" xmlns:a16="http://schemas.microsoft.com/office/drawing/2014/main" id="{8E3B42D4-3D8F-48D5-BD55-FFDD0AB928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8">
                <a:extLst>
                  <a:ext uri="{FF2B5EF4-FFF2-40B4-BE49-F238E27FC236}">
                    <a16:creationId xmlns="" xmlns:a16="http://schemas.microsoft.com/office/drawing/2014/main" id="{67F4B29E-0F2B-4976-B1E8-0978AD6E8C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7">
                <a:extLst>
                  <a:ext uri="{FF2B5EF4-FFF2-40B4-BE49-F238E27FC236}">
                    <a16:creationId xmlns="" xmlns:a16="http://schemas.microsoft.com/office/drawing/2014/main" id="{73433A05-8E3F-43CF-A347-204E2A2DF1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6">
                <a:extLst>
                  <a:ext uri="{FF2B5EF4-FFF2-40B4-BE49-F238E27FC236}">
                    <a16:creationId xmlns="" xmlns:a16="http://schemas.microsoft.com/office/drawing/2014/main" id="{87FC4487-A70D-4C80-A3EE-0C1F64D0A8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5">
                <a:extLst>
                  <a:ext uri="{FF2B5EF4-FFF2-40B4-BE49-F238E27FC236}">
                    <a16:creationId xmlns="" xmlns:a16="http://schemas.microsoft.com/office/drawing/2014/main" id="{F79B0E53-4827-4D10-BA6F-890EBDB0E0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4">
                <a:extLst>
                  <a:ext uri="{FF2B5EF4-FFF2-40B4-BE49-F238E27FC236}">
                    <a16:creationId xmlns="" xmlns:a16="http://schemas.microsoft.com/office/drawing/2014/main" id="{C8D64C00-39EF-43D1-B381-5215998D92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3">
                <a:extLst>
                  <a:ext uri="{FF2B5EF4-FFF2-40B4-BE49-F238E27FC236}">
                    <a16:creationId xmlns="" xmlns:a16="http://schemas.microsoft.com/office/drawing/2014/main" id="{5BB0BF0D-B94D-484B-9DDE-38C25E2EB3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0" name="Gutter 2">
                <a:extLst>
                  <a:ext uri="{FF2B5EF4-FFF2-40B4-BE49-F238E27FC236}">
                    <a16:creationId xmlns="" xmlns:a16="http://schemas.microsoft.com/office/drawing/2014/main" id="{24F07886-4DAA-4561-922F-9ABCD28F00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1" name="Gutter 1">
                <a:extLst>
                  <a:ext uri="{FF2B5EF4-FFF2-40B4-BE49-F238E27FC236}">
                    <a16:creationId xmlns="" xmlns:a16="http://schemas.microsoft.com/office/drawing/2014/main" id="{150E3AEE-A540-49FF-B701-AB2C7C5FF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2" name="Baselines/Anchors">
              <a:extLst>
                <a:ext uri="{FF2B5EF4-FFF2-40B4-BE49-F238E27FC236}">
                  <a16:creationId xmlns="" xmlns:a16="http://schemas.microsoft.com/office/drawing/2014/main" id="{F4A0E7E2-E559-4862-9AAD-62D3AF2F4E89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>
                <a:extLst>
                  <a:ext uri="{FF2B5EF4-FFF2-40B4-BE49-F238E27FC236}">
                    <a16:creationId xmlns="" xmlns:a16="http://schemas.microsoft.com/office/drawing/2014/main" id="{45069574-0C50-4930-8689-A0B85CF80C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9">
                <a:extLst>
                  <a:ext uri="{FF2B5EF4-FFF2-40B4-BE49-F238E27FC236}">
                    <a16:creationId xmlns="" xmlns:a16="http://schemas.microsoft.com/office/drawing/2014/main" id="{BA735D01-43F8-4C61-9056-296CB3A8D8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8">
                <a:extLst>
                  <a:ext uri="{FF2B5EF4-FFF2-40B4-BE49-F238E27FC236}">
                    <a16:creationId xmlns="" xmlns:a16="http://schemas.microsoft.com/office/drawing/2014/main" id="{44F8FB82-1360-465F-BEC1-30DFDD10C5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7">
                <a:extLst>
                  <a:ext uri="{FF2B5EF4-FFF2-40B4-BE49-F238E27FC236}">
                    <a16:creationId xmlns="" xmlns:a16="http://schemas.microsoft.com/office/drawing/2014/main" id="{C54345F2-13AF-497D-8DE3-91DC9E45B0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6">
                <a:extLst>
                  <a:ext uri="{FF2B5EF4-FFF2-40B4-BE49-F238E27FC236}">
                    <a16:creationId xmlns="" xmlns:a16="http://schemas.microsoft.com/office/drawing/2014/main" id="{0D800CE8-3A99-4F9C-8ECD-FBE0FE4137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5">
                <a:extLst>
                  <a:ext uri="{FF2B5EF4-FFF2-40B4-BE49-F238E27FC236}">
                    <a16:creationId xmlns="" xmlns:a16="http://schemas.microsoft.com/office/drawing/2014/main" id="{69A0533F-4BE2-4FB1-983D-E50AE47FD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4">
                <a:extLst>
                  <a:ext uri="{FF2B5EF4-FFF2-40B4-BE49-F238E27FC236}">
                    <a16:creationId xmlns="" xmlns:a16="http://schemas.microsoft.com/office/drawing/2014/main" id="{8B17CD02-35B1-4452-87E7-B535C48100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3">
                <a:extLst>
                  <a:ext uri="{FF2B5EF4-FFF2-40B4-BE49-F238E27FC236}">
                    <a16:creationId xmlns="" xmlns:a16="http://schemas.microsoft.com/office/drawing/2014/main" id="{F4E69233-55C0-412B-A406-14D7862E5B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2">
                <a:extLst>
                  <a:ext uri="{FF2B5EF4-FFF2-40B4-BE49-F238E27FC236}">
                    <a16:creationId xmlns="" xmlns:a16="http://schemas.microsoft.com/office/drawing/2014/main" id="{FA6048DA-D826-4EFC-B77B-DD2F819338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="" xmlns:a16="http://schemas.microsoft.com/office/drawing/2014/main" id="{5D07C14E-694D-4FA4-B204-B08E19AD41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="" xmlns:a16="http://schemas.microsoft.com/office/drawing/2014/main" id="{5189BD4D-2ECB-46BB-B3A7-42C7D96118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9">
                <a:extLst>
                  <a:ext uri="{FF2B5EF4-FFF2-40B4-BE49-F238E27FC236}">
                    <a16:creationId xmlns="" xmlns:a16="http://schemas.microsoft.com/office/drawing/2014/main" id="{7C5AFB96-71F5-46FF-8164-5613964170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8">
                <a:extLst>
                  <a:ext uri="{FF2B5EF4-FFF2-40B4-BE49-F238E27FC236}">
                    <a16:creationId xmlns="" xmlns:a16="http://schemas.microsoft.com/office/drawing/2014/main" id="{2F591B94-0528-49D3-B9E5-B9413D1013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7">
                <a:extLst>
                  <a:ext uri="{FF2B5EF4-FFF2-40B4-BE49-F238E27FC236}">
                    <a16:creationId xmlns="" xmlns:a16="http://schemas.microsoft.com/office/drawing/2014/main" id="{7B1D3B0D-C88F-4F46-95D5-5D2D8ED6C1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6">
                <a:extLst>
                  <a:ext uri="{FF2B5EF4-FFF2-40B4-BE49-F238E27FC236}">
                    <a16:creationId xmlns="" xmlns:a16="http://schemas.microsoft.com/office/drawing/2014/main" id="{B45CF565-4439-4C1C-9FB6-83549CD539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5">
                <a:extLst>
                  <a:ext uri="{FF2B5EF4-FFF2-40B4-BE49-F238E27FC236}">
                    <a16:creationId xmlns="" xmlns:a16="http://schemas.microsoft.com/office/drawing/2014/main" id="{FD8929C0-966D-4CA3-90C6-790C1BB9AF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4">
                <a:extLst>
                  <a:ext uri="{FF2B5EF4-FFF2-40B4-BE49-F238E27FC236}">
                    <a16:creationId xmlns="" xmlns:a16="http://schemas.microsoft.com/office/drawing/2014/main" id="{A7B75ED1-FBED-401A-9EA7-C242ABEE8E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3">
                <a:extLst>
                  <a:ext uri="{FF2B5EF4-FFF2-40B4-BE49-F238E27FC236}">
                    <a16:creationId xmlns="" xmlns:a16="http://schemas.microsoft.com/office/drawing/2014/main" id="{87D12AF3-0B27-459E-934B-471AFD5970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" name="Line 2">
                <a:extLst>
                  <a:ext uri="{FF2B5EF4-FFF2-40B4-BE49-F238E27FC236}">
                    <a16:creationId xmlns="" xmlns:a16="http://schemas.microsoft.com/office/drawing/2014/main" id="{B197C494-C0CE-428E-A3A0-FF5C8BB916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" name="Line 1">
                <a:extLst>
                  <a:ext uri="{FF2B5EF4-FFF2-40B4-BE49-F238E27FC236}">
                    <a16:creationId xmlns="" xmlns:a16="http://schemas.microsoft.com/office/drawing/2014/main" id="{6E7F4355-58E4-40EF-9EC5-0046B4B532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Five column measure">
              <a:extLst>
                <a:ext uri="{FF2B5EF4-FFF2-40B4-BE49-F238E27FC236}">
                  <a16:creationId xmlns="" xmlns:a16="http://schemas.microsoft.com/office/drawing/2014/main" id="{753E1F29-DE71-4AEE-BB0E-759F62DF41EA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>
                <a:extLst>
                  <a:ext uri="{FF2B5EF4-FFF2-40B4-BE49-F238E27FC236}">
                    <a16:creationId xmlns="" xmlns:a16="http://schemas.microsoft.com/office/drawing/2014/main" id="{68C90BC7-C2E9-4857-9C90-51AC7DAC7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4">
                <a:extLst>
                  <a:ext uri="{FF2B5EF4-FFF2-40B4-BE49-F238E27FC236}">
                    <a16:creationId xmlns="" xmlns:a16="http://schemas.microsoft.com/office/drawing/2014/main" id="{54AA05B6-E976-4798-8AE8-45F3FA82D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3">
                <a:extLst>
                  <a:ext uri="{FF2B5EF4-FFF2-40B4-BE49-F238E27FC236}">
                    <a16:creationId xmlns="" xmlns:a16="http://schemas.microsoft.com/office/drawing/2014/main" id="{C45FB40F-987D-4973-AE16-5045C0DE2A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9" name="Column 2">
                <a:extLst>
                  <a:ext uri="{FF2B5EF4-FFF2-40B4-BE49-F238E27FC236}">
                    <a16:creationId xmlns="" xmlns:a16="http://schemas.microsoft.com/office/drawing/2014/main" id="{4C2B61B9-DDDE-4DCB-81B4-EB55F6F30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20" name="Column 1">
                <a:extLst>
                  <a:ext uri="{FF2B5EF4-FFF2-40B4-BE49-F238E27FC236}">
                    <a16:creationId xmlns="" xmlns:a16="http://schemas.microsoft.com/office/drawing/2014/main" id="{CEA0F7ED-0050-4628-A250-A2EFC43D7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4" name="Live space">
              <a:extLst>
                <a:ext uri="{FF2B5EF4-FFF2-40B4-BE49-F238E27FC236}">
                  <a16:creationId xmlns="" xmlns:a16="http://schemas.microsoft.com/office/drawing/2014/main" id="{E28518BA-44D6-4FDC-A665-9D5E1E460AE3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="" xmlns:a16="http://schemas.microsoft.com/office/drawing/2014/main" id="{A6971450-939D-4FFD-B888-4D7BA0A973EE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A6A6A6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2" name="Date Placeholder 1">
            <a:extLst>
              <a:ext uri="{FF2B5EF4-FFF2-40B4-BE49-F238E27FC236}">
                <a16:creationId xmlns="" xmlns:a16="http://schemas.microsoft.com/office/drawing/2014/main" id="{87A90D16-90F1-43F8-9B4A-1098FDF1C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D98E1BE-311C-430B-A59E-9ED7CA28FAC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332786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="" xmlns:a16="http://schemas.microsoft.com/office/drawing/2014/main" id="{7B6AC70E-6640-4F41-9751-54D52EC5CD6D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="" xmlns:a16="http://schemas.microsoft.com/office/drawing/2014/main" id="{63A6A47B-E56E-4021-894E-D6549C828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1CE5F9E3-2B92-4998-99AC-7FEFC71339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="" xmlns:a16="http://schemas.microsoft.com/office/drawing/2014/main" id="{FE5D9A2B-3192-45E6-B3F0-B4D651A52E52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="" xmlns:a16="http://schemas.microsoft.com/office/drawing/2014/main" id="{E8509FBA-939B-4BAE-B8E2-325A4CC0DC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="" xmlns:a16="http://schemas.microsoft.com/office/drawing/2014/main" id="{68D97904-D03C-437A-9C1F-B52FD2681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009394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27F262FE-A6F5-4225-AEBC-63833A061F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5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27F262FE-A6F5-4225-AEBC-63833A061F1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5E58D822-C7ED-4546-92E8-EEB31D54C28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EF6731A-3C8E-482D-B667-F1297F360BB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BC419626-7AA9-484E-88DD-028A8D8DF60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="" xmlns:a16="http://schemas.microsoft.com/office/drawing/2014/main" id="{0A45AF4D-9FCF-4F84-A77B-510491D4B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1A958B7-DE6C-4712-8698-3E2D15FACB23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414807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5200A622-65D6-4452-A453-0B9DAC7F5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7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5200A622-65D6-4452-A453-0B9DAC7F584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="" xmlns:a16="http://schemas.microsoft.com/office/drawing/2014/main" id="{499C89CF-D0B7-4DDB-86C2-93EB0F5F15E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4EB55D0-6937-4BAC-BC92-BCE1BB83ECA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PanelGray">
            <a:extLst>
              <a:ext uri="{FF2B5EF4-FFF2-40B4-BE49-F238E27FC236}">
                <a16:creationId xmlns="" xmlns:a16="http://schemas.microsoft.com/office/drawing/2014/main" id="{45ACB61F-3174-456A-8F8F-0447D907E70A}"/>
              </a:ext>
            </a:extLst>
          </p:cNvPr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400BE026-515D-496F-9393-B0D35EFAE32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="" xmlns:a16="http://schemas.microsoft.com/office/drawing/2014/main" id="{C7279D24-A4D6-4701-B21B-0B7E2B8E55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70BF241-BEBC-47BC-AC9F-7C0F195A071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642416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B1F37A11-1C5E-4ED1-9324-BE3FCF721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0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B1F37A11-1C5E-4ED1-9324-BE3FCF721D1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BA375231-4C78-4739-86DE-A4DD346D74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D27E521-5E82-4804-B0AD-0D8237C4843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1081190A-776E-44DA-A0E4-6D18EA41227A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B8288C2-8097-4468-8B57-5454199B9E2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8">
            <a:extLst>
              <a:ext uri="{FF2B5EF4-FFF2-40B4-BE49-F238E27FC236}">
                <a16:creationId xmlns="" xmlns:a16="http://schemas.microsoft.com/office/drawing/2014/main" id="{4AEFF009-F652-4494-9291-886023AFA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A33ED98-64F3-45B9-9313-7FADB8E800D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85088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CD815DE6-2E28-427B-854E-7505035FE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2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CD815DE6-2E28-427B-854E-7505035FED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048EE352-2C7E-4C8B-A205-C796B0391B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5B2A2F0-B9AC-45BC-BB54-F9FE6172D42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Line">
            <a:extLst>
              <a:ext uri="{FF2B5EF4-FFF2-40B4-BE49-F238E27FC236}">
                <a16:creationId xmlns="" xmlns:a16="http://schemas.microsoft.com/office/drawing/2014/main" id="{7DC2CA27-0EB1-4F51-A241-FEF089D72364}"/>
              </a:ext>
            </a:extLst>
          </p:cNvPr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8">
            <a:extLst>
              <a:ext uri="{FF2B5EF4-FFF2-40B4-BE49-F238E27FC236}">
                <a16:creationId xmlns="" xmlns:a16="http://schemas.microsoft.com/office/drawing/2014/main" id="{055A9DDB-94FC-4DD6-B413-0D59463FA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3F0724C-A784-4B0F-A464-14266D1C6E9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813706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227C714B-E540-4168-8D77-2337AEA0C8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EB9471C1-E604-4EC6-86A7-E426BFD99A42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0547E707-BA0E-481B-A116-3168645CD4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EDFB199-C56E-4DBB-981A-F96CEA1E234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40C109B2-7B00-46DA-BBA5-071174DD5B3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74FEB737-A364-4A80-9302-65BE71B1A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B116772-DBF4-4CA6-887B-3CDD0317EC6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922254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724EFEC1-4A6C-4AC5-8842-E0E7B29E836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2A906F50-98BB-4216-B687-76643D158E1C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1E50C14-A7B9-4B8F-9D28-B86FB79177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C09BDC4-D9B5-4802-AFE8-A580E307EC3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6577234-D9DA-4238-B06C-95CB2F7D766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3B6A612F-1A2F-4638-8111-FA95E37A0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F0A595B-B237-418A-A80B-B8DB019A0F0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742611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19E1A20D-570D-458C-8445-6F4FCAD9BD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78532F6-8552-495C-86D8-378ACAE1E02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Shadow">
            <a:extLst>
              <a:ext uri="{FF2B5EF4-FFF2-40B4-BE49-F238E27FC236}">
                <a16:creationId xmlns="" xmlns:a16="http://schemas.microsoft.com/office/drawing/2014/main" id="{AADC938F-26F9-4D53-9E6A-1941CB2D67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A6794344-D18A-48C2-9F3F-250F07D450F9}"/>
              </a:ext>
            </a:extLst>
          </p:cNvPr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E9AC85C-DF63-46EB-B477-16AF785E722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9694B85E-DACC-4BD9-8C0F-E10961D3E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953A124-2EA5-48CF-95B7-290FE9EC936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48258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279D5C3B-7F18-49A9-BBBA-FC08E05D8F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2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279D5C3B-7F18-49A9-BBBA-FC08E05D8F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3EC43D7C-2B6D-4A44-9626-945E0AC7195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47F78B4-6E8C-4DBE-B8CE-48643B492ED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F77B5830-2DCF-4A6B-B918-C57E6AEC4EBE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E3EF6BA6-70DD-4A5F-9734-348C9D911F6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22A2DF80-BB0E-4B3C-B4EF-563241CCC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0331B62-FF49-408F-BD8C-3127236D415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635487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BAC70621-3C8A-4701-AC64-B91A10DC4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76936E49-9B1F-49EF-A5ED-A90D934A876A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3DFC6926-C883-43A9-8C68-1160A666C82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BA5CFEB-E5BA-450C-8479-E215740F668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E38A7120-8C00-4E9F-B444-2923EA49C23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F1BE10EE-9044-42B1-B0EA-ED23074BA2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BDCF48A-993B-4900-9CAA-48D42BD0A0E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779453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6FCE0692-2F88-48FA-AC6A-7A5A29525B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06D03566-2D90-4708-B830-AB72D0D6C43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825B63BF-4087-4ABB-9D3B-82E6F4280D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01AA0B9-011C-41E3-9367-28C6B9ED08B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2C98E1A7-B30A-41EF-B94D-F6D0C781D89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11FBDCCD-3826-4B4F-8ACA-548AF0E0756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32572BA-9685-4B78-A1C0-D219BF03218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353409"/>
      </p:ext>
    </p:extLst>
  </p:cSld>
  <p:clrMapOvr>
    <a:masterClrMapping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1B401C37-B9DA-449A-84B6-9109F9D91D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2064E6DF-3D61-4E64-A9C1-72B44822A61A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D12B70AD-D0CF-4DDE-B023-3A3CBF3711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9372E93-6F76-4544-9B6F-2B8ECB1DA11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DC7E9C67-9B23-423A-B595-A0F38A3D359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5D667E0A-2921-4FB2-B29A-D7B2AC1FEFD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523550D-CA8C-4251-86D8-B0D2E0459E3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894749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5FB77DA7-6505-4B49-AEC9-A5A0DEE3605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D29FDB6F-C07E-4055-8058-E5AF73D8CDBE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70553376-DABB-40E3-92A6-90E62A4938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76F1F1E-82B2-40C2-AE26-9881AB3A782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3A872EA-F9A3-4BDE-85AD-8D37635CABE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A48518BE-E0B7-4F18-ABFF-65F5F5FBC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03F9B8D-B386-434F-BD6F-7B438FE0419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984459"/>
      </p:ext>
    </p:extLst>
  </p:cSld>
  <p:clrMapOvr>
    <a:masterClrMapping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882EFE1A-0E44-489C-86D3-7A6623F5E9E2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212F645D-CED0-41F5-B285-AD5C0140FC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37F5436-4FBA-48B7-9685-94C02E0D500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FCD8D33F-3C16-4769-8116-AC71144B5F9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10">
            <a:extLst>
              <a:ext uri="{FF2B5EF4-FFF2-40B4-BE49-F238E27FC236}">
                <a16:creationId xmlns="" xmlns:a16="http://schemas.microsoft.com/office/drawing/2014/main" id="{453D7253-662A-41C7-99B2-BDC35F081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5AAC3DF5-2756-47C4-90B0-97CFC513C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A09497D-D373-4CAD-B8CC-E3E012378A7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98589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6E6E98C7-765D-4B66-BF6A-1A8D3A77EE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7F324E9B-5D1D-4014-AD49-DB00CFDADC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BF3BCF3C-A6A7-4877-9EAD-3628FEDF959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F4EA2DC-E369-4E79-B707-82B574AEA21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A50273BD-D757-4CBA-A1B0-7C49FBE3EAA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21186FB3-9053-4E92-B6AC-198ABF36F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3B76BC6-B6AD-41A6-8F32-FB60CF03E56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674575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7BBA5FDD-DE62-4F06-A7B0-A475FCFFCA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9C94199D-04E0-4293-9D24-9CE1F54314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147BA60-9853-4EB8-BBF3-EA29C4BECE9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23C0132F-DECB-4ED1-8DA6-3ED5769FB53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94D53007-4D5A-49CF-8D02-1025BD6A6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013146C9-D5A5-4114-B2EA-D217F99FB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A18B5BE-638D-4484-9972-307F49DDEBA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802789"/>
      </p:ext>
    </p:extLst>
  </p:cSld>
  <p:clrMapOvr>
    <a:masterClrMapping/>
  </p:clrMapOvr>
  <p:transition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6364DA8B-5809-4A5F-B1FD-320038B673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98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6364DA8B-5809-4A5F-B1FD-320038B673C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Shadow">
            <a:extLst>
              <a:ext uri="{FF2B5EF4-FFF2-40B4-BE49-F238E27FC236}">
                <a16:creationId xmlns="" xmlns:a16="http://schemas.microsoft.com/office/drawing/2014/main" id="{9AA5EB07-76AC-4115-AF0D-EDC2A68288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rowPanelWhite">
            <a:extLst>
              <a:ext uri="{FF2B5EF4-FFF2-40B4-BE49-F238E27FC236}">
                <a16:creationId xmlns="" xmlns:a16="http://schemas.microsoft.com/office/drawing/2014/main" id="{0C3F8D14-653F-4AF0-9865-4D33A7AC4DA2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>
            <a:extLst>
              <a:ext uri="{FF2B5EF4-FFF2-40B4-BE49-F238E27FC236}">
                <a16:creationId xmlns="" xmlns:a16="http://schemas.microsoft.com/office/drawing/2014/main" id="{643AFC6E-1844-4D0A-8607-944B61019D8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F8790CC-A9C5-4A0E-8C53-F2D6A04EB9A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ooterSimple" hidden="1">
            <a:extLst>
              <a:ext uri="{FF2B5EF4-FFF2-40B4-BE49-F238E27FC236}">
                <a16:creationId xmlns="" xmlns:a16="http://schemas.microsoft.com/office/drawing/2014/main" id="{1575C8AF-ABFE-43D8-94AF-432D2FC6830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="" xmlns:a16="http://schemas.microsoft.com/office/drawing/2014/main" id="{09999E0D-244E-4B31-BC6A-FE317E048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1B2CC92-F90C-475C-9D61-AF1B8EE32DD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3980"/>
      </p:ext>
    </p:extLst>
  </p:cSld>
  <p:clrMapOvr>
    <a:masterClrMapping/>
  </p:clrMapOvr>
  <p:transition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4F3CEA1A-AEC6-46D5-9F70-50C08DAB991D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48CDE3E9-2812-4B7F-8C54-1D304014F79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36EAB18-6B63-4FBF-96EC-443C88F4A18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778F792B-B8F2-4806-B0C9-6FCA8DCE869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10">
            <a:extLst>
              <a:ext uri="{FF2B5EF4-FFF2-40B4-BE49-F238E27FC236}">
                <a16:creationId xmlns="" xmlns:a16="http://schemas.microsoft.com/office/drawing/2014/main" id="{EB8EC796-758C-4E65-8418-84AD290D8B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67CBF6EF-4454-4662-83E7-DD609C030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B2EBBC6-D2FD-4386-A3D6-94C7C1C1D7B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794773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71774F95-E5A2-44C6-831D-C72B91D8B9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37EF4A25-B29F-445A-BCE8-6391335712FE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F9810903-B771-4BE2-A5CF-5FB6D6CE52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B5E591A-4A31-41A8-A6F3-D66D955F077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1701EC5-96E1-44EA-BE6E-DF5D29398F6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E0D21D05-D8C4-44E0-BB73-F46BCE2709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2F8F838-CC7D-4888-B241-9828C7875C6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97904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BA7AD7EE-0D7D-4619-BEF0-46BBC0C4D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Bubble">
            <a:extLst>
              <a:ext uri="{FF2B5EF4-FFF2-40B4-BE49-F238E27FC236}">
                <a16:creationId xmlns="" xmlns:a16="http://schemas.microsoft.com/office/drawing/2014/main" id="{DABDCF1B-D5FA-4DD0-B220-5418AF9BE66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18E59A22-4BFE-4A2A-962A-22D099F872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" name="Right Triangle 55">
              <a:extLst>
                <a:ext uri="{FF2B5EF4-FFF2-40B4-BE49-F238E27FC236}">
                  <a16:creationId xmlns="" xmlns:a16="http://schemas.microsoft.com/office/drawing/2014/main" id="{AD38CE4E-6492-44C6-B95B-BD1B00A08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" name="Page">
            <a:extLst>
              <a:ext uri="{FF2B5EF4-FFF2-40B4-BE49-F238E27FC236}">
                <a16:creationId xmlns="" xmlns:a16="http://schemas.microsoft.com/office/drawing/2014/main" id="{AC321CD1-EB27-4B7E-BF22-2230DD40B30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F97E3D1-2485-4F9C-B45C-18BA9CFB5B2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755699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2AD8E2BB-75B9-4CC4-A19F-D936DEDAF938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83B9D946-B42A-4613-A5B3-39C2C1F1EB2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2286948-194B-43BA-AF86-7AEB82B1F2A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FCFA2BF4-CE40-49EE-B264-E95DE29C446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7">
            <a:extLst>
              <a:ext uri="{FF2B5EF4-FFF2-40B4-BE49-F238E27FC236}">
                <a16:creationId xmlns="" xmlns:a16="http://schemas.microsoft.com/office/drawing/2014/main" id="{27400F1B-1735-4421-8B6A-BA7CBFB771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E81D05CC-D37C-4580-B94A-D8F845EA1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E5EEA99-7BE4-42C4-9D91-7C1C76B67DF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087673"/>
      </p:ext>
    </p:extLst>
  </p:cSld>
  <p:clrMapOvr>
    <a:masterClrMapping/>
  </p:clrMapOvr>
  <p:transition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A8041E9E-8C7E-4200-A74F-99F2492C22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5E3B69A-E00E-4C43-8F43-688CC55C528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F18FD13B-D6EE-4648-9BBB-EE7A20F4B35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32D5187F-AFDF-4F58-8AE6-388C36134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4417009-A66E-4481-AE8A-75AC2D429B7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029405"/>
      </p:ext>
    </p:extLst>
  </p:cSld>
  <p:clrMapOvr>
    <a:masterClrMapping/>
  </p:clrMapOvr>
  <p:transition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EC07C937-D0B3-4B91-8757-F64F3C59D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10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EC07C937-D0B3-4B91-8757-F64F3C59DD7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70E59269-FFB9-40A1-B6A5-DA209AF115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69578E6-DE0B-4C8D-9AFF-F1D927B571E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179EC76E-FA69-4DE9-B0F8-B5AB4A65E338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17874B16-A83D-4806-B059-1F36330A705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E0EAA436-9282-4CC1-9B7F-20877E4B94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95CBC6B-4B9A-4B61-8743-D6F717AEAF3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690203"/>
      </p:ext>
    </p:extLst>
  </p:cSld>
  <p:clrMapOvr>
    <a:masterClrMapping/>
  </p:clrMapOvr>
  <p:transition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D7BAEF0A-7561-4D26-9C9E-DE751149DD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age">
            <a:extLst>
              <a:ext uri="{FF2B5EF4-FFF2-40B4-BE49-F238E27FC236}">
                <a16:creationId xmlns="" xmlns:a16="http://schemas.microsoft.com/office/drawing/2014/main" id="{DEF1C2BD-6BF6-47B9-B3AC-EA9993A36E1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C695147-DF1E-4BE8-A2E0-F631F4CDF87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Bubble">
            <a:extLst>
              <a:ext uri="{FF2B5EF4-FFF2-40B4-BE49-F238E27FC236}">
                <a16:creationId xmlns="" xmlns:a16="http://schemas.microsoft.com/office/drawing/2014/main" id="{44C0F814-190A-4A82-85F8-D0F87C41681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5" name="Rectangle 9">
              <a:extLst>
                <a:ext uri="{FF2B5EF4-FFF2-40B4-BE49-F238E27FC236}">
                  <a16:creationId xmlns="" xmlns:a16="http://schemas.microsoft.com/office/drawing/2014/main" id="{071F2596-B959-43F7-928B-AD7C24D31A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" name="Right Triangle 10">
              <a:extLst>
                <a:ext uri="{FF2B5EF4-FFF2-40B4-BE49-F238E27FC236}">
                  <a16:creationId xmlns="" xmlns:a16="http://schemas.microsoft.com/office/drawing/2014/main" id="{357C513A-D745-4994-AFE7-EF025E2973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D1FB9DC5-A0DE-4899-BCC6-052E04EBE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F67367B-CF66-403D-B02B-38D55FDEBDC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790274"/>
      </p:ext>
    </p:extLst>
  </p:cSld>
  <p:clrMapOvr>
    <a:masterClrMapping/>
  </p:clrMapOvr>
  <p:transition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0671E0D0-B97F-4687-BA14-FED65144069A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92DE7D9-DFB9-496A-8311-B9B20DFB8F5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18C105BF-08C1-4E92-A3E8-A5100138AF1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2">
            <a:extLst>
              <a:ext uri="{FF2B5EF4-FFF2-40B4-BE49-F238E27FC236}">
                <a16:creationId xmlns="" xmlns:a16="http://schemas.microsoft.com/office/drawing/2014/main" id="{042DAB66-2F7D-47AE-BEDF-7C118640C8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75B70B5-9CB9-4CC1-8752-E448B945F5F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478254"/>
      </p:ext>
    </p:extLst>
  </p:cSld>
  <p:clrMapOvr>
    <a:masterClrMapping/>
  </p:clrMapOvr>
  <p:transition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13AC7B91-444E-4D86-B439-8B2447F4FF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03209067-0EF3-4DE5-9048-1DF0236ED019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670D3348-BC09-4A39-8BCA-FAA0BA70F41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B07D62B-5487-40FB-9DAA-23BD74EC760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="" xmlns:a16="http://schemas.microsoft.com/office/drawing/2014/main" id="{CB068897-7887-4767-A69B-C9E1B16BBB7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61813399-B56E-4E95-A9E8-5C932E9DF30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197D0102-0A0C-4E37-9B7F-02F41C72BA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4A0F464-ECD6-49B1-A986-0CCDB0693FF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461610"/>
      </p:ext>
    </p:extLst>
  </p:cSld>
  <p:clrMapOvr>
    <a:masterClrMapping/>
  </p:clrMapOvr>
  <p:transition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="" xmlns:a16="http://schemas.microsoft.com/office/drawing/2014/main" id="{DEAFA031-4750-4E97-B6F9-AF1A6D423B7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8750A1B-97C8-44BB-A276-0C3203ECFFE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="" xmlns:a16="http://schemas.microsoft.com/office/drawing/2014/main" id="{0E137C31-AECE-4C2F-B7C3-659D83E0EBA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Date Placeholder 4">
            <a:extLst>
              <a:ext uri="{FF2B5EF4-FFF2-40B4-BE49-F238E27FC236}">
                <a16:creationId xmlns="" xmlns:a16="http://schemas.microsoft.com/office/drawing/2014/main" id="{4305C53D-170F-4D16-B59F-A7E7FF8349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A5A336C-5D4F-47C6-AFE7-0164403D9AC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251336"/>
      </p:ext>
    </p:extLst>
  </p:cSld>
  <p:clrMapOvr>
    <a:masterClrMapping/>
  </p:clrMapOvr>
  <p:transition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27F9C3CB-DCDB-4244-9441-8BB9FA2A0C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22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27F9C3CB-DCDB-4244-9441-8BB9FA2A0C1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3721D759-F253-4879-A1E4-1F7A7A291D9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953261F-8DD5-4870-B972-ED9CF5531F9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C1F7DDD7-E3D0-42C7-AA2F-8A33EEF37AC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Date Placeholder 6">
            <a:extLst>
              <a:ext uri="{FF2B5EF4-FFF2-40B4-BE49-F238E27FC236}">
                <a16:creationId xmlns="" xmlns:a16="http://schemas.microsoft.com/office/drawing/2014/main" id="{C60E06B7-57EE-41D5-8AAE-702CA6370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1D5B741-A39D-4B96-B4F4-896618C30B5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47028"/>
      </p:ext>
    </p:extLst>
  </p:cSld>
  <p:clrMapOvr>
    <a:masterClrMapping/>
  </p:clrMapOvr>
  <p:transition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7716D997-921C-40BB-8380-8283612EB0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25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7716D997-921C-40BB-8380-8283612EB05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4D3B4181-F8B0-412A-9A63-EDF21AD5789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5F1BD1D-DEC8-444A-A1D4-40FB96350EE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B0BC0ECE-48FE-45A5-9C6A-7D5F80D9D83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512624"/>
      </p:ext>
    </p:extLst>
  </p:cSld>
  <p:clrMapOvr>
    <a:masterClrMapping/>
  </p:clrMapOvr>
  <p:transition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67867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85E524EF-38DD-4133-9CB1-B4D859856622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877F1AC-27FD-4D91-8233-FFEB7CB4997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77E2370F-CDF6-4A4E-AE10-367AAABDBC3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="" xmlns:a16="http://schemas.microsoft.com/office/drawing/2014/main" id="{8F46CEC0-656D-45CE-8EA9-A4D2459302D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C51FD95-BE6A-46E4-91CB-6D28BBD9EF0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52444"/>
      </p:ext>
    </p:extLst>
  </p:cSld>
  <p:clrMapOvr>
    <a:masterClrMapping/>
  </p:clrMapOvr>
  <p:transition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73AE3629-54C6-4432-B2D3-F0E582C7E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30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73AE3629-54C6-4432-B2D3-F0E582C7EC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A34B1509-4B9D-47CE-B50C-2E63109EA4B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3052AE6-65CA-4173-AE9A-EBDA12EB738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A4Grid">
            <a:extLst>
              <a:ext uri="{FF2B5EF4-FFF2-40B4-BE49-F238E27FC236}">
                <a16:creationId xmlns="" xmlns:a16="http://schemas.microsoft.com/office/drawing/2014/main" id="{B7E86B08-4A3C-4BA2-AF72-502FBBBB027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" name="Slide edges">
              <a:extLst>
                <a:ext uri="{FF2B5EF4-FFF2-40B4-BE49-F238E27FC236}">
                  <a16:creationId xmlns="" xmlns:a16="http://schemas.microsoft.com/office/drawing/2014/main" id="{6BD52C1C-A0D6-47C5-9366-2376D80CE2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6" name="No-fly zone">
              <a:extLst>
                <a:ext uri="{FF2B5EF4-FFF2-40B4-BE49-F238E27FC236}">
                  <a16:creationId xmlns="" xmlns:a16="http://schemas.microsoft.com/office/drawing/2014/main" id="{79AF1CFC-F049-42F2-BA32-14F1399A9A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="" xmlns:a16="http://schemas.microsoft.com/office/drawing/2014/main" id="{1198A487-04CA-4969-92FE-188414A3E6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="" xmlns:a16="http://schemas.microsoft.com/office/drawing/2014/main" id="{7345A04A-4FFB-425C-AD0A-5E7DA1EAD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9" name="Gutter space">
              <a:extLst>
                <a:ext uri="{FF2B5EF4-FFF2-40B4-BE49-F238E27FC236}">
                  <a16:creationId xmlns="" xmlns:a16="http://schemas.microsoft.com/office/drawing/2014/main" id="{141C4CB1-93FB-48D7-AD0E-99922B253E24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39" name="Gutter 11">
                <a:extLst>
                  <a:ext uri="{FF2B5EF4-FFF2-40B4-BE49-F238E27FC236}">
                    <a16:creationId xmlns="" xmlns:a16="http://schemas.microsoft.com/office/drawing/2014/main" id="{94079BEB-4C1F-4518-BAE9-D56D65BF72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0" name="Gutter 10">
                <a:extLst>
                  <a:ext uri="{FF2B5EF4-FFF2-40B4-BE49-F238E27FC236}">
                    <a16:creationId xmlns="" xmlns:a16="http://schemas.microsoft.com/office/drawing/2014/main" id="{378BA54F-DB76-43B7-956F-35C059D18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1" name="Gutter 9">
                <a:extLst>
                  <a:ext uri="{FF2B5EF4-FFF2-40B4-BE49-F238E27FC236}">
                    <a16:creationId xmlns="" xmlns:a16="http://schemas.microsoft.com/office/drawing/2014/main" id="{9675746A-3A17-41FD-9478-6CA199AB6C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8">
                <a:extLst>
                  <a:ext uri="{FF2B5EF4-FFF2-40B4-BE49-F238E27FC236}">
                    <a16:creationId xmlns="" xmlns:a16="http://schemas.microsoft.com/office/drawing/2014/main" id="{F46C35B1-5D51-41EB-96D4-5E7A22FDD4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7">
                <a:extLst>
                  <a:ext uri="{FF2B5EF4-FFF2-40B4-BE49-F238E27FC236}">
                    <a16:creationId xmlns="" xmlns:a16="http://schemas.microsoft.com/office/drawing/2014/main" id="{EA5D7622-D1D3-4E94-8AB2-FFD439E13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6">
                <a:extLst>
                  <a:ext uri="{FF2B5EF4-FFF2-40B4-BE49-F238E27FC236}">
                    <a16:creationId xmlns="" xmlns:a16="http://schemas.microsoft.com/office/drawing/2014/main" id="{4E71202F-926C-47E9-99FD-995B9C899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5">
                <a:extLst>
                  <a:ext uri="{FF2B5EF4-FFF2-40B4-BE49-F238E27FC236}">
                    <a16:creationId xmlns="" xmlns:a16="http://schemas.microsoft.com/office/drawing/2014/main" id="{5C94C021-1438-4BBD-9EAD-E6FECF356A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4">
                <a:extLst>
                  <a:ext uri="{FF2B5EF4-FFF2-40B4-BE49-F238E27FC236}">
                    <a16:creationId xmlns="" xmlns:a16="http://schemas.microsoft.com/office/drawing/2014/main" id="{32C4ADB0-2D62-4DFE-9800-5C0C6F4A80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3">
                <a:extLst>
                  <a:ext uri="{FF2B5EF4-FFF2-40B4-BE49-F238E27FC236}">
                    <a16:creationId xmlns="" xmlns:a16="http://schemas.microsoft.com/office/drawing/2014/main" id="{89B22CED-63BE-4E7F-8167-EA91B54073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2">
                <a:extLst>
                  <a:ext uri="{FF2B5EF4-FFF2-40B4-BE49-F238E27FC236}">
                    <a16:creationId xmlns="" xmlns:a16="http://schemas.microsoft.com/office/drawing/2014/main" id="{B973BDFA-04C2-4FCC-A21B-F395A083C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1">
                <a:extLst>
                  <a:ext uri="{FF2B5EF4-FFF2-40B4-BE49-F238E27FC236}">
                    <a16:creationId xmlns="" xmlns:a16="http://schemas.microsoft.com/office/drawing/2014/main" id="{1CEF7FF2-91CC-4A50-B958-E005E4EA60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Baselines/Anchors">
              <a:extLst>
                <a:ext uri="{FF2B5EF4-FFF2-40B4-BE49-F238E27FC236}">
                  <a16:creationId xmlns="" xmlns:a16="http://schemas.microsoft.com/office/drawing/2014/main" id="{68520CA8-CAAF-4A5E-86FF-D519C836A200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19" name="Line 20">
                <a:extLst>
                  <a:ext uri="{FF2B5EF4-FFF2-40B4-BE49-F238E27FC236}">
                    <a16:creationId xmlns="" xmlns:a16="http://schemas.microsoft.com/office/drawing/2014/main" id="{BF56C64E-CFAA-462C-AFAB-2224E0ED38B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="" xmlns:a16="http://schemas.microsoft.com/office/drawing/2014/main" id="{14C02D78-8766-4DCB-B34E-CE737490C1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Line 18">
                <a:extLst>
                  <a:ext uri="{FF2B5EF4-FFF2-40B4-BE49-F238E27FC236}">
                    <a16:creationId xmlns="" xmlns:a16="http://schemas.microsoft.com/office/drawing/2014/main" id="{02FB07A3-3B77-4369-947F-3C1226F7C3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7">
                <a:extLst>
                  <a:ext uri="{FF2B5EF4-FFF2-40B4-BE49-F238E27FC236}">
                    <a16:creationId xmlns="" xmlns:a16="http://schemas.microsoft.com/office/drawing/2014/main" id="{8F697D23-BF8C-421B-A18C-00847CF577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6">
                <a:extLst>
                  <a:ext uri="{FF2B5EF4-FFF2-40B4-BE49-F238E27FC236}">
                    <a16:creationId xmlns="" xmlns:a16="http://schemas.microsoft.com/office/drawing/2014/main" id="{1F799D22-FF16-492D-B364-3B08E8F5CA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5">
                <a:extLst>
                  <a:ext uri="{FF2B5EF4-FFF2-40B4-BE49-F238E27FC236}">
                    <a16:creationId xmlns="" xmlns:a16="http://schemas.microsoft.com/office/drawing/2014/main" id="{AE2CAD08-D965-410B-BC9F-C7AF93D6D1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4">
                <a:extLst>
                  <a:ext uri="{FF2B5EF4-FFF2-40B4-BE49-F238E27FC236}">
                    <a16:creationId xmlns="" xmlns:a16="http://schemas.microsoft.com/office/drawing/2014/main" id="{1A1560C2-056E-4BE6-A09A-D1689A1A31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3">
                <a:extLst>
                  <a:ext uri="{FF2B5EF4-FFF2-40B4-BE49-F238E27FC236}">
                    <a16:creationId xmlns="" xmlns:a16="http://schemas.microsoft.com/office/drawing/2014/main" id="{E3A2C2BF-9730-4BE3-9125-857B064216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2">
                <a:extLst>
                  <a:ext uri="{FF2B5EF4-FFF2-40B4-BE49-F238E27FC236}">
                    <a16:creationId xmlns="" xmlns:a16="http://schemas.microsoft.com/office/drawing/2014/main" id="{DD5EE0DB-DD41-4EA5-AA98-7DA7E51552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1">
                <a:extLst>
                  <a:ext uri="{FF2B5EF4-FFF2-40B4-BE49-F238E27FC236}">
                    <a16:creationId xmlns="" xmlns:a16="http://schemas.microsoft.com/office/drawing/2014/main" id="{56E90584-A86B-4069-AE07-AAA0C858DB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="" xmlns:a16="http://schemas.microsoft.com/office/drawing/2014/main" id="{3E709F2E-3602-4672-8D26-B52D860F59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="" xmlns:a16="http://schemas.microsoft.com/office/drawing/2014/main" id="{059ED77A-AD14-48BC-956B-9F6B5B6CB9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8">
                <a:extLst>
                  <a:ext uri="{FF2B5EF4-FFF2-40B4-BE49-F238E27FC236}">
                    <a16:creationId xmlns="" xmlns:a16="http://schemas.microsoft.com/office/drawing/2014/main" id="{4E970213-F557-4FA4-BDB1-AA2B0AE2B8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7">
                <a:extLst>
                  <a:ext uri="{FF2B5EF4-FFF2-40B4-BE49-F238E27FC236}">
                    <a16:creationId xmlns="" xmlns:a16="http://schemas.microsoft.com/office/drawing/2014/main" id="{1BA24FAC-D482-4E2A-8C93-C691060A39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6">
                <a:extLst>
                  <a:ext uri="{FF2B5EF4-FFF2-40B4-BE49-F238E27FC236}">
                    <a16:creationId xmlns="" xmlns:a16="http://schemas.microsoft.com/office/drawing/2014/main" id="{D3606F54-190D-4673-96BD-5C17871F35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5">
                <a:extLst>
                  <a:ext uri="{FF2B5EF4-FFF2-40B4-BE49-F238E27FC236}">
                    <a16:creationId xmlns="" xmlns:a16="http://schemas.microsoft.com/office/drawing/2014/main" id="{BF397677-B0DA-4CFF-A9BA-C23137BDB8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4">
                <a:extLst>
                  <a:ext uri="{FF2B5EF4-FFF2-40B4-BE49-F238E27FC236}">
                    <a16:creationId xmlns="" xmlns:a16="http://schemas.microsoft.com/office/drawing/2014/main" id="{3E4DC708-1873-4A14-AEEA-E1A52CA758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3">
                <a:extLst>
                  <a:ext uri="{FF2B5EF4-FFF2-40B4-BE49-F238E27FC236}">
                    <a16:creationId xmlns="" xmlns:a16="http://schemas.microsoft.com/office/drawing/2014/main" id="{D7D2D6BC-EC71-4F1A-8C7A-B76BFFD3EB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2">
                <a:extLst>
                  <a:ext uri="{FF2B5EF4-FFF2-40B4-BE49-F238E27FC236}">
                    <a16:creationId xmlns="" xmlns:a16="http://schemas.microsoft.com/office/drawing/2014/main" id="{6B803B18-F648-4C94-861D-BDCB37A1A8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1">
                <a:extLst>
                  <a:ext uri="{FF2B5EF4-FFF2-40B4-BE49-F238E27FC236}">
                    <a16:creationId xmlns="" xmlns:a16="http://schemas.microsoft.com/office/drawing/2014/main" id="{49EE1111-7BBB-4BFC-93EA-3C547D3A88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Five column measure">
              <a:extLst>
                <a:ext uri="{FF2B5EF4-FFF2-40B4-BE49-F238E27FC236}">
                  <a16:creationId xmlns="" xmlns:a16="http://schemas.microsoft.com/office/drawing/2014/main" id="{12DE1274-544C-4BBF-9F56-DF232E6161CD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4" name="Column 5">
                <a:extLst>
                  <a:ext uri="{FF2B5EF4-FFF2-40B4-BE49-F238E27FC236}">
                    <a16:creationId xmlns="" xmlns:a16="http://schemas.microsoft.com/office/drawing/2014/main" id="{584A1D2C-0DAB-420E-8F3A-907268B19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5" name="Column 4">
                <a:extLst>
                  <a:ext uri="{FF2B5EF4-FFF2-40B4-BE49-F238E27FC236}">
                    <a16:creationId xmlns="" xmlns:a16="http://schemas.microsoft.com/office/drawing/2014/main" id="{82E727A1-C246-4864-8BB2-1CF85B3B1A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6" name="Column 3">
                <a:extLst>
                  <a:ext uri="{FF2B5EF4-FFF2-40B4-BE49-F238E27FC236}">
                    <a16:creationId xmlns="" xmlns:a16="http://schemas.microsoft.com/office/drawing/2014/main" id="{69C4C251-5B05-4480-9D87-03A2CCBC7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2">
                <a:extLst>
                  <a:ext uri="{FF2B5EF4-FFF2-40B4-BE49-F238E27FC236}">
                    <a16:creationId xmlns="" xmlns:a16="http://schemas.microsoft.com/office/drawing/2014/main" id="{34EE1E4D-B7A5-4F4A-BB4B-9651693CC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1">
                <a:extLst>
                  <a:ext uri="{FF2B5EF4-FFF2-40B4-BE49-F238E27FC236}">
                    <a16:creationId xmlns="" xmlns:a16="http://schemas.microsoft.com/office/drawing/2014/main" id="{159E8D71-8381-43CF-BE1E-B3AF9B9DE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2" name="Live space">
              <a:extLst>
                <a:ext uri="{FF2B5EF4-FFF2-40B4-BE49-F238E27FC236}">
                  <a16:creationId xmlns="" xmlns:a16="http://schemas.microsoft.com/office/drawing/2014/main" id="{75D73590-F1FF-4D23-BEF7-91B3DC148F1D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="" xmlns:a16="http://schemas.microsoft.com/office/drawing/2014/main" id="{46F5E1B8-01E2-484C-9178-AD2C2EE30A0B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0" name="FooterSimple" hidden="1">
            <a:extLst>
              <a:ext uri="{FF2B5EF4-FFF2-40B4-BE49-F238E27FC236}">
                <a16:creationId xmlns="" xmlns:a16="http://schemas.microsoft.com/office/drawing/2014/main" id="{277D0918-C7BF-41AB-9DF3-74A27C95D03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1" name="Date Placeholder 1">
            <a:extLst>
              <a:ext uri="{FF2B5EF4-FFF2-40B4-BE49-F238E27FC236}">
                <a16:creationId xmlns="" xmlns:a16="http://schemas.microsoft.com/office/drawing/2014/main" id="{2778AA32-7384-4011-8084-22014C85F8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BA37E96-6285-453C-A5B5-854724C4159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883823"/>
      </p:ext>
    </p:extLst>
  </p:cSld>
  <p:clrMapOvr>
    <a:masterClrMapping/>
  </p:clrMapOvr>
  <p:transition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947FF93E-39C4-422D-BA79-4D72E0C9A5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324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947FF93E-39C4-422D-BA79-4D72E0C9A5E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790EB3A3-96B3-41B9-A0D6-6BD2291CA8D7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09E1C13-E330-4657-A5D7-B36FA0B1B8B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E8A41C98-2AA3-4574-9EE8-C14E76E65C9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="" xmlns:a16="http://schemas.microsoft.com/office/drawing/2014/main" id="{C9729E6C-4D26-4A6B-835F-63575894392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4B82382B-1CF0-45B9-B86B-FCE2B4530D9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="" xmlns:a16="http://schemas.microsoft.com/office/drawing/2014/main" id="{3DF9EEFF-C712-4000-A71F-FC1582BD1A17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880743"/>
      </p:ext>
    </p:extLst>
  </p:cSld>
  <p:clrMapOvr>
    <a:masterClrMapping/>
  </p:clrMapOvr>
  <p:transition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1BD80DE8-FF26-42E0-9630-F23048E935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348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1BD80DE8-FF26-42E0-9630-F23048E9358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58F48A82-86E3-4444-9D29-328D003CD48F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942170E-7151-42A8-A4FC-5B9DAD9B946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2E9DA32C-B6DA-418B-9900-2A018AAF419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="" xmlns:a16="http://schemas.microsoft.com/office/drawing/2014/main" id="{907073AA-E125-4798-AEE8-DFD8201F97B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19F3F21F-C6F3-48A9-A059-DFF0ABE28C4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328088"/>
      </p:ext>
    </p:extLst>
  </p:cSld>
  <p:clrMapOvr>
    <a:masterClrMapping/>
  </p:clrMapOvr>
  <p:transition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0F5BA7C4-BBF7-4F7B-A50C-D4FDB8AF9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372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0F5BA7C4-BBF7-4F7B-A50C-D4FDB8AF9B4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E38336EC-5221-4D70-9483-E898F30B8A2A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321B24C-B055-40B3-BCD8-52633A4B808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35DD4B16-AD38-4B39-BE44-A1DDC3BAD5C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Straight Connector 9">
            <a:extLst>
              <a:ext uri="{FF2B5EF4-FFF2-40B4-BE49-F238E27FC236}">
                <a16:creationId xmlns="" xmlns:a16="http://schemas.microsoft.com/office/drawing/2014/main" id="{F8105B97-23F8-43D1-9B98-C6329C08575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EDCB9B57-4B99-4270-8532-19F5767AC07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21924520"/>
      </p:ext>
    </p:extLst>
  </p:cSld>
  <p:clrMapOvr>
    <a:masterClrMapping/>
  </p:clrMapOvr>
  <p:transition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A482D0E3-D2A2-4335-BFDD-9B84AEC3E6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9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A482D0E3-D2A2-4335-BFDD-9B84AEC3E69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1139F493-B42C-4BDA-BD73-391303D9859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9431C739-AC6E-428F-9AD5-77F56F12EDD6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955788F3-0206-4540-96B7-299E9CF1E3E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371C334-29C3-4FEE-9115-4544D67B58E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9D2CD83C-0A13-4EC0-8680-585F998F86A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extBox 14">
            <a:extLst>
              <a:ext uri="{FF2B5EF4-FFF2-40B4-BE49-F238E27FC236}">
                <a16:creationId xmlns="" xmlns:a16="http://schemas.microsoft.com/office/drawing/2014/main" id="{0A38B90F-C8AA-4056-B72E-056BE6646A5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8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74012993"/>
      </p:ext>
    </p:extLst>
  </p:cSld>
  <p:clrMapOvr>
    <a:masterClrMapping/>
  </p:clrMapOvr>
  <p:transition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B2F911A9-C2D4-4D74-A762-4CB733811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55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B2F911A9-C2D4-4D74-A762-4CB7338113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9514F056-D189-4ED1-B71F-FAD8C695BC8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473C271-3009-45F5-B8F4-680D38D5C9F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216A6011-C834-4891-BFF4-1068A5FFF3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5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216A6011-C834-4891-BFF4-1068A5FFF38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2C473193-7F6C-41CB-A083-C7F9A30B724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43541B27-3CD9-481C-BED0-36B61ACEF3B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EA8A6331-0B02-4E42-913F-C4C81627E00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="" xmlns:a16="http://schemas.microsoft.com/office/drawing/2014/main" id="{3EA30847-0659-466E-8FCA-62926136C96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51461242"/>
      </p:ext>
    </p:extLst>
  </p:cSld>
  <p:clrMapOvr>
    <a:masterClrMapping/>
  </p:clrMapOvr>
  <p:transition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EA79CE6-9B5D-44AB-AA2F-64F3550411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679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4EA79CE6-9B5D-44AB-AA2F-64F3550411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C8F1F8D5-5068-475C-B007-CDA7A71FBC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62D1D6E-3107-4A73-A0E6-D55CD029076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C8E60485-6031-4FF1-B75F-41B7CAE99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68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C8E60485-6031-4FF1-B75F-41B7CAE998A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9A3D4AFB-C0C3-47D3-9392-6E7A12D70861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96D5EFBC-C062-4C7C-8E6B-54CB632D8E8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EF4A40FA-2AAF-439F-8F90-266D6BE28E4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662555"/>
      </p:ext>
    </p:extLst>
  </p:cSld>
  <p:clrMapOvr>
    <a:masterClrMapping/>
  </p:clrMapOvr>
  <p:transition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326A68B-A823-4B48-BAC6-350DA7DA42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03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4326A68B-A823-4B48-BAC6-350DA7DA428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DEF6C34F-EF54-4EE4-B6E7-D1D3E8259B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98CF060-4C8A-4821-BADB-897075D6323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43BA1C7-37B2-4D7B-B64B-F6F9406D5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0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E43BA1C7-37B2-4D7B-B64B-F6F9406D571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7BAA8C32-C912-4F2A-83C8-F5B6C6933811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6" name="Straight Connector 7">
            <a:extLst>
              <a:ext uri="{FF2B5EF4-FFF2-40B4-BE49-F238E27FC236}">
                <a16:creationId xmlns="" xmlns:a16="http://schemas.microsoft.com/office/drawing/2014/main" id="{F506D519-5D11-40FE-A887-35FDC32A840A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A2CD62A4-8314-4D5D-908B-EF1C9375232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55784189"/>
      </p:ext>
    </p:extLst>
  </p:cSld>
  <p:clrMapOvr>
    <a:masterClrMapping/>
  </p:clrMapOvr>
  <p:transition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05313EAC-481C-40BB-B844-FB64A1280B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49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05313EAC-481C-40BB-B844-FB64A1280B1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A93C0F33-2BB5-4847-805C-E031527A1DE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5C8DA169-4715-44E2-925D-FFF5F0806DC9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61B1C22F-C8D1-444B-A790-0AF784CCE46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1FB2C13-7A70-4BD0-AFED-B82BDCEAACA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92D7D57B-87D8-4558-A163-CDDCE05ABDF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extBox 14">
            <a:extLst>
              <a:ext uri="{FF2B5EF4-FFF2-40B4-BE49-F238E27FC236}">
                <a16:creationId xmlns="" xmlns:a16="http://schemas.microsoft.com/office/drawing/2014/main" id="{A4837181-9E14-4E0E-9497-8580C69CE84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4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26641053"/>
      </p:ext>
    </p:extLst>
  </p:cSld>
  <p:clrMapOvr>
    <a:masterClrMapping/>
  </p:clrMapOvr>
  <p:transition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E7972EB9-29CE-4E23-9EE5-FA2B427213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51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E7972EB9-29CE-4E23-9EE5-FA2B427213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C042FF3B-08F4-4F0B-B88B-92BD703F03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0573E047-8132-4A7A-94CC-F51DAAF41963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631EC465-5B85-48E9-AA55-6C98A23803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56D6CF9-3CE4-42CD-A4AD-6D4F7A21497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="" xmlns:a16="http://schemas.microsoft.com/office/drawing/2014/main" id="{79306C41-BE62-4AF5-8A1A-7D9A09FA0D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63FA3E37-7D63-46E3-A50C-13874BAA5B0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580962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44247EF-FBD7-471E-90C0-8DE1123D5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44247EF-FBD7-471E-90C0-8DE1123D505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F3CBBD7E-F356-414E-99E6-9D9952507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58B2B20-1D9B-4A38-8476-521DA9D29D9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129015E9-92E3-4AD1-999A-EF3C34FFD38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10BB8F90-EE0F-4031-8C34-20E4D9AFCF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6BE602D-D260-4ECB-A599-5D9FE7CACCD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750867"/>
      </p:ext>
    </p:extLst>
  </p:cSld>
  <p:clrMapOvr>
    <a:masterClrMapping/>
  </p:clrMapOvr>
  <p:transition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="" xmlns:a16="http://schemas.microsoft.com/office/drawing/2014/main" id="{573EFAE1-760A-4DB5-8D6A-694042629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54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="" xmlns:a16="http://schemas.microsoft.com/office/drawing/2014/main" id="{573EFAE1-760A-4DB5-8D6A-69404262940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age">
            <a:extLst>
              <a:ext uri="{FF2B5EF4-FFF2-40B4-BE49-F238E27FC236}">
                <a16:creationId xmlns="" xmlns:a16="http://schemas.microsoft.com/office/drawing/2014/main" id="{1BCA9C5D-4ADB-48A5-A851-B751F59A5F7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E56773A-3FAE-4F7D-9CD5-8F24C02568C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8" y="1508760"/>
            <a:ext cx="11074087" cy="4590288"/>
          </a:xfrm>
        </p:spPr>
        <p:txBody>
          <a:bodyPr/>
          <a:lstStyle>
            <a:lvl1pPr>
              <a:spcBef>
                <a:spcPts val="312"/>
              </a:spcBef>
              <a:defRPr/>
            </a:lvl1pPr>
            <a:lvl2pPr marL="371475" indent="-187200">
              <a:spcBef>
                <a:spcPts val="312"/>
              </a:spcBef>
              <a:defRPr/>
            </a:lvl2pPr>
            <a:lvl3pPr marL="742950" indent="-187200">
              <a:spcBef>
                <a:spcPts val="312"/>
              </a:spcBef>
              <a:defRPr/>
            </a:lvl3pPr>
            <a:lvl4pPr marL="1117350" indent="-190125">
              <a:spcBef>
                <a:spcPts val="312"/>
              </a:spcBef>
              <a:defRPr/>
            </a:lvl4pPr>
            <a:lvl5pPr marL="1673100" indent="-187200">
              <a:spcBef>
                <a:spcPts val="312"/>
              </a:spcBef>
              <a:defRPr/>
            </a:lvl5pPr>
          </a:lstStyle>
          <a:p>
            <a:pPr lvl="0"/>
            <a:r>
              <a:rPr lang="ru"/>
              <a:t>Click to edit Master text styles</a:t>
            </a:r>
          </a:p>
          <a:p>
            <a:pPr lvl="1"/>
            <a:r>
              <a:rPr lang="ru"/>
              <a:t>Second level</a:t>
            </a:r>
          </a:p>
          <a:p>
            <a:pPr lvl="2"/>
            <a:r>
              <a:rPr lang="ru"/>
              <a:t>Third level</a:t>
            </a:r>
          </a:p>
          <a:p>
            <a:pPr lvl="3"/>
            <a:r>
              <a:rPr lang="ru"/>
              <a:t>Fourth level</a:t>
            </a:r>
          </a:p>
          <a:p>
            <a:pPr lvl="4"/>
            <a:r>
              <a:rPr lang="ru"/>
              <a:t>Fifth level</a:t>
            </a:r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337968922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5D6F975A-029D-42D9-B7F0-B462861F36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311E40-3A60-4D63-843D-2B8752EFD04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F137FF5-A534-41EA-B764-ED64DAD76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DB01107-7C8E-4AAD-8725-609F9999B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63A51-EE23-4C00-B2B1-7BDFF9B35B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29199889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42573AD-F70A-49D3-BE7A-F07738D85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AA7BE-F69B-45CB-B4F8-D652EDA8EFB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99883DA-B6C2-4657-A652-0A53B49BF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2861C96-385A-4FF1-8724-8C4542C36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E04836-9FBE-455F-B394-67607151040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8766971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CAF76F1-9412-4D01-B46F-C5687DC02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216162-93E0-4B38-9427-4FEEC289DAD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D806FA2-307F-442B-9017-64792EFA1D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22607A9-7A33-4CCF-8A5D-A8882CF4F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CB03FB-B0E0-4B76-A0EA-AD34A4E07CF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4973730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3F957B94-26EB-44AC-98D8-D1779EB3E5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5361E4-9706-4AC3-845C-04B96D73B6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30D02BDB-6E55-4997-BC2C-325B5F71F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19C2FD1E-D726-45BD-BC8A-6F8D43AE0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C6E5D-608C-4D80-A92C-363E2618163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5188106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3">
            <a:extLst>
              <a:ext uri="{FF2B5EF4-FFF2-40B4-BE49-F238E27FC236}">
                <a16:creationId xmlns="" xmlns:a16="http://schemas.microsoft.com/office/drawing/2014/main" id="{F4591480-3E7B-4598-A35C-8DFA7197E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D78417-6EFE-49E0-827F-0D34510C377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="" xmlns:a16="http://schemas.microsoft.com/office/drawing/2014/main" id="{82076BBF-55B3-4AA7-B287-D8582C1465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>
            <a:extLst>
              <a:ext uri="{FF2B5EF4-FFF2-40B4-BE49-F238E27FC236}">
                <a16:creationId xmlns="" xmlns:a16="http://schemas.microsoft.com/office/drawing/2014/main" id="{68B6E218-DDAB-411E-9BFC-3D5CCAB91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82A77F-378A-416F-8DAD-12B6F6A09F3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11757189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3">
            <a:extLst>
              <a:ext uri="{FF2B5EF4-FFF2-40B4-BE49-F238E27FC236}">
                <a16:creationId xmlns="" xmlns:a16="http://schemas.microsoft.com/office/drawing/2014/main" id="{2A9FACFA-1765-4BA7-9036-9A95427AF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1FB9F1-2862-45B9-8F30-F32B77856C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="" xmlns:a16="http://schemas.microsoft.com/office/drawing/2014/main" id="{EECF07CF-77A6-4D54-9367-7B63628DA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>
            <a:extLst>
              <a:ext uri="{FF2B5EF4-FFF2-40B4-BE49-F238E27FC236}">
                <a16:creationId xmlns="" xmlns:a16="http://schemas.microsoft.com/office/drawing/2014/main" id="{75F9197A-485B-4463-8628-0E687BDC5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84D90-66F4-48FB-BA38-D703BB3281B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7822950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="" xmlns:a16="http://schemas.microsoft.com/office/drawing/2014/main" id="{FB1E866F-777D-4CE1-89B7-88E41DC972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5CCCBE-AA52-4E20-80D1-01970D5A1CE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="" xmlns:a16="http://schemas.microsoft.com/office/drawing/2014/main" id="{F226E6F2-22CA-4E79-819F-807EFD940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>
            <a:extLst>
              <a:ext uri="{FF2B5EF4-FFF2-40B4-BE49-F238E27FC236}">
                <a16:creationId xmlns="" xmlns:a16="http://schemas.microsoft.com/office/drawing/2014/main" id="{DC938E31-85F6-498D-A099-ECBAB7B90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324D3C-8678-4612-8AD9-843ADD87DB0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4991931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F9B18848-8608-4BB6-A543-5241D71AA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AC53F5-C1CB-4F8D-A163-8187412257F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AD6B041F-F1AD-40E9-B732-1655CA153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9330B02D-6605-4A9F-B8B2-0AC46C5CB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B90F3-C764-4BDD-9EB5-7931278C8A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40619445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E0C0A584-59B5-45E6-9A74-0D90B81780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990535-6ED9-4568-8AB0-23720C1DA76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B6ECB66C-6362-4EF8-A625-56150F01C0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AD3E7536-F853-48E8-868C-200DD6834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DBCA9D-C52C-40FE-A00C-9CEA45ABBEE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100164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="" xmlns:a16="http://schemas.microsoft.com/office/drawing/2014/main" id="{6AC4B02B-3413-460E-AF53-8684B57385D9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6473D49-5341-474B-8964-BBD6CB7A571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="" xmlns:a16="http://schemas.microsoft.com/office/drawing/2014/main" id="{6CB45CF9-1E0C-4767-B075-4ACF3A3F520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1">
            <a:extLst>
              <a:ext uri="{FF2B5EF4-FFF2-40B4-BE49-F238E27FC236}">
                <a16:creationId xmlns="" xmlns:a16="http://schemas.microsoft.com/office/drawing/2014/main" id="{09BBF4EB-E94D-4175-85AB-01605A5D02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62965DF-8FDB-4DFE-8551-58AEBDE68D6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547527"/>
      </p:ext>
    </p:extLst>
  </p:cSld>
  <p:clrMapOvr>
    <a:masterClrMapping/>
  </p:clrMapOvr>
  <p:transition>
    <p:fade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428A0D0-B15C-4271-BC04-C50C9A498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6216C-21AC-4422-819F-B3F078BDC82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DA4347A8-B0EF-446C-88F6-051E82389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55E76A25-EB8C-4423-A4B5-0E4BCD7AC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615962-85C8-4718-AED9-29E928FB39E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09334325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E92169B-C10D-40BC-B3DF-DCA42084B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F93B8D-589B-4D07-92CA-B45B75C64B4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28F630F-01E4-43ED-B648-4617F2D76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0CD357C-FF9A-49BC-AA87-87E494B84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81377-88FF-4035-89AF-C800C04359B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985769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8FEE9D8D-9A11-4088-B34E-CC7EA1388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4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8FEE9D8D-9A11-4088-B34E-CC7EA1388B5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C2A9BA8A-93CD-4EDA-B905-4D40CD55C2A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6136FAB-8E98-4AAB-AC2E-F871FE18D31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1C1737B5-A965-4ED8-92F3-DCE0EB78E76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360572817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938426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0FDE80CB-D895-40C0-ABE2-2361F3779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0FDE80CB-D895-40C0-ABE2-2361F3779C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037B0BBE-B2C2-4875-9DD7-50393BD4AA7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8098FDA-BA23-4F78-A600-B5BFEFA1C98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="" xmlns:a16="http://schemas.microsoft.com/office/drawing/2014/main" id="{219B10A5-BBB4-4C40-AB11-9BF068851D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52769" y="3921919"/>
            <a:ext cx="5133975" cy="96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19125837-1BD0-4EE2-8D82-75E2A3E7D79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grpSp>
        <p:nvGrpSpPr>
          <p:cNvPr id="6" name="A4Grid">
            <a:extLst>
              <a:ext uri="{FF2B5EF4-FFF2-40B4-BE49-F238E27FC236}">
                <a16:creationId xmlns="" xmlns:a16="http://schemas.microsoft.com/office/drawing/2014/main" id="{EA163C81-A871-4DEC-BEE7-8A683BBA2D9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>
              <a:extLst>
                <a:ext uri="{FF2B5EF4-FFF2-40B4-BE49-F238E27FC236}">
                  <a16:creationId xmlns="" xmlns:a16="http://schemas.microsoft.com/office/drawing/2014/main" id="{D59A7941-3355-40DC-AF29-2C887DE25FD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No-fly zone">
              <a:extLst>
                <a:ext uri="{FF2B5EF4-FFF2-40B4-BE49-F238E27FC236}">
                  <a16:creationId xmlns="" xmlns:a16="http://schemas.microsoft.com/office/drawing/2014/main" id="{F7F44BB0-F888-48C7-8FCC-42BB34C346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="" xmlns:a16="http://schemas.microsoft.com/office/drawing/2014/main" id="{894E67C5-B42F-4BF9-9FDA-8AA75A1EC2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="" xmlns:a16="http://schemas.microsoft.com/office/drawing/2014/main" id="{CCB89E14-4977-4C8A-8B99-E46199CD0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11" name="Gutter space">
              <a:extLst>
                <a:ext uri="{FF2B5EF4-FFF2-40B4-BE49-F238E27FC236}">
                  <a16:creationId xmlns="" xmlns:a16="http://schemas.microsoft.com/office/drawing/2014/main" id="{39F62F2C-2CF6-4596-97AC-B8E43C88CD4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>
                <a:extLst>
                  <a:ext uri="{FF2B5EF4-FFF2-40B4-BE49-F238E27FC236}">
                    <a16:creationId xmlns="" xmlns:a16="http://schemas.microsoft.com/office/drawing/2014/main" id="{34A3941A-8E46-41AE-A2FC-7C64DE0CC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10">
                <a:extLst>
                  <a:ext uri="{FF2B5EF4-FFF2-40B4-BE49-F238E27FC236}">
                    <a16:creationId xmlns="" xmlns:a16="http://schemas.microsoft.com/office/drawing/2014/main" id="{6ADDA395-AC00-491F-A4B6-EF63A642B1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9">
                <a:extLst>
                  <a:ext uri="{FF2B5EF4-FFF2-40B4-BE49-F238E27FC236}">
                    <a16:creationId xmlns="" xmlns:a16="http://schemas.microsoft.com/office/drawing/2014/main" id="{EA9AA6B1-19A9-43A4-9EA4-70096AF46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8">
                <a:extLst>
                  <a:ext uri="{FF2B5EF4-FFF2-40B4-BE49-F238E27FC236}">
                    <a16:creationId xmlns="" xmlns:a16="http://schemas.microsoft.com/office/drawing/2014/main" id="{AA48BA28-97E0-4598-90F5-DAF5D711E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7">
                <a:extLst>
                  <a:ext uri="{FF2B5EF4-FFF2-40B4-BE49-F238E27FC236}">
                    <a16:creationId xmlns="" xmlns:a16="http://schemas.microsoft.com/office/drawing/2014/main" id="{AFB32A23-81C3-4828-AA3A-318C322599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6">
                <a:extLst>
                  <a:ext uri="{FF2B5EF4-FFF2-40B4-BE49-F238E27FC236}">
                    <a16:creationId xmlns="" xmlns:a16="http://schemas.microsoft.com/office/drawing/2014/main" id="{9C397F28-F115-4AFC-A2F7-12CC600C0C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5">
                <a:extLst>
                  <a:ext uri="{FF2B5EF4-FFF2-40B4-BE49-F238E27FC236}">
                    <a16:creationId xmlns="" xmlns:a16="http://schemas.microsoft.com/office/drawing/2014/main" id="{B032A427-178B-4F34-A99B-0E1871672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4">
                <a:extLst>
                  <a:ext uri="{FF2B5EF4-FFF2-40B4-BE49-F238E27FC236}">
                    <a16:creationId xmlns="" xmlns:a16="http://schemas.microsoft.com/office/drawing/2014/main" id="{0BB5422B-26B0-4F82-B6EE-61FF065DEA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3">
                <a:extLst>
                  <a:ext uri="{FF2B5EF4-FFF2-40B4-BE49-F238E27FC236}">
                    <a16:creationId xmlns="" xmlns:a16="http://schemas.microsoft.com/office/drawing/2014/main" id="{728D2EB4-3664-493C-906F-579BFB7728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0" name="Gutter 2">
                <a:extLst>
                  <a:ext uri="{FF2B5EF4-FFF2-40B4-BE49-F238E27FC236}">
                    <a16:creationId xmlns="" xmlns:a16="http://schemas.microsoft.com/office/drawing/2014/main" id="{458517CE-FE61-448E-826D-E5BE1790F9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1" name="Gutter 1">
                <a:extLst>
                  <a:ext uri="{FF2B5EF4-FFF2-40B4-BE49-F238E27FC236}">
                    <a16:creationId xmlns="" xmlns:a16="http://schemas.microsoft.com/office/drawing/2014/main" id="{F6A0BBD7-91EE-4FD2-90CA-039A62C651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2" name="Baselines/Anchors">
              <a:extLst>
                <a:ext uri="{FF2B5EF4-FFF2-40B4-BE49-F238E27FC236}">
                  <a16:creationId xmlns="" xmlns:a16="http://schemas.microsoft.com/office/drawing/2014/main" id="{93B481EF-4631-4D96-B816-87BAD875188A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>
                <a:extLst>
                  <a:ext uri="{FF2B5EF4-FFF2-40B4-BE49-F238E27FC236}">
                    <a16:creationId xmlns="" xmlns:a16="http://schemas.microsoft.com/office/drawing/2014/main" id="{00AE92A2-1C69-4DB7-BF0B-2E61223DC5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9">
                <a:extLst>
                  <a:ext uri="{FF2B5EF4-FFF2-40B4-BE49-F238E27FC236}">
                    <a16:creationId xmlns="" xmlns:a16="http://schemas.microsoft.com/office/drawing/2014/main" id="{B0CD2BB1-8F95-4C45-ADED-8297A4205D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8">
                <a:extLst>
                  <a:ext uri="{FF2B5EF4-FFF2-40B4-BE49-F238E27FC236}">
                    <a16:creationId xmlns="" xmlns:a16="http://schemas.microsoft.com/office/drawing/2014/main" id="{4B8953C6-9FE8-4A5F-AEA9-A8B004785B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7">
                <a:extLst>
                  <a:ext uri="{FF2B5EF4-FFF2-40B4-BE49-F238E27FC236}">
                    <a16:creationId xmlns="" xmlns:a16="http://schemas.microsoft.com/office/drawing/2014/main" id="{B184ECEE-D5FE-4A40-B820-A85346EC0F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6">
                <a:extLst>
                  <a:ext uri="{FF2B5EF4-FFF2-40B4-BE49-F238E27FC236}">
                    <a16:creationId xmlns="" xmlns:a16="http://schemas.microsoft.com/office/drawing/2014/main" id="{15887067-88E1-4FDA-A9C4-F377DA2467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5">
                <a:extLst>
                  <a:ext uri="{FF2B5EF4-FFF2-40B4-BE49-F238E27FC236}">
                    <a16:creationId xmlns="" xmlns:a16="http://schemas.microsoft.com/office/drawing/2014/main" id="{71E4FF41-A0A1-46AB-8E05-E8FAA64B3A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4">
                <a:extLst>
                  <a:ext uri="{FF2B5EF4-FFF2-40B4-BE49-F238E27FC236}">
                    <a16:creationId xmlns="" xmlns:a16="http://schemas.microsoft.com/office/drawing/2014/main" id="{EFDF4DAD-906B-4B43-9E88-5DE76337A4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3">
                <a:extLst>
                  <a:ext uri="{FF2B5EF4-FFF2-40B4-BE49-F238E27FC236}">
                    <a16:creationId xmlns="" xmlns:a16="http://schemas.microsoft.com/office/drawing/2014/main" id="{232AA217-F382-4A18-A9E1-75B4AE56DB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2">
                <a:extLst>
                  <a:ext uri="{FF2B5EF4-FFF2-40B4-BE49-F238E27FC236}">
                    <a16:creationId xmlns="" xmlns:a16="http://schemas.microsoft.com/office/drawing/2014/main" id="{7DBF5423-8FA4-4556-B463-C0FCB04CF7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="" xmlns:a16="http://schemas.microsoft.com/office/drawing/2014/main" id="{DE0554CE-7DE2-4741-91B0-EC503CBB42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="" xmlns:a16="http://schemas.microsoft.com/office/drawing/2014/main" id="{C089A780-0822-4EF7-992C-40055CC938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9">
                <a:extLst>
                  <a:ext uri="{FF2B5EF4-FFF2-40B4-BE49-F238E27FC236}">
                    <a16:creationId xmlns="" xmlns:a16="http://schemas.microsoft.com/office/drawing/2014/main" id="{4ECBB0C6-48E2-4D6B-A655-6BB79F6C02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8">
                <a:extLst>
                  <a:ext uri="{FF2B5EF4-FFF2-40B4-BE49-F238E27FC236}">
                    <a16:creationId xmlns="" xmlns:a16="http://schemas.microsoft.com/office/drawing/2014/main" id="{C2416014-6D3A-4C9D-AC4F-266CC8E4F8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7">
                <a:extLst>
                  <a:ext uri="{FF2B5EF4-FFF2-40B4-BE49-F238E27FC236}">
                    <a16:creationId xmlns="" xmlns:a16="http://schemas.microsoft.com/office/drawing/2014/main" id="{E1B75780-72D3-45E7-86BF-4630B6EB7E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6">
                <a:extLst>
                  <a:ext uri="{FF2B5EF4-FFF2-40B4-BE49-F238E27FC236}">
                    <a16:creationId xmlns="" xmlns:a16="http://schemas.microsoft.com/office/drawing/2014/main" id="{14D73DA3-0642-4E03-BFDD-1AC7317F83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5">
                <a:extLst>
                  <a:ext uri="{FF2B5EF4-FFF2-40B4-BE49-F238E27FC236}">
                    <a16:creationId xmlns="" xmlns:a16="http://schemas.microsoft.com/office/drawing/2014/main" id="{1E24A326-C38A-4E16-B69A-B4E8B339EA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4">
                <a:extLst>
                  <a:ext uri="{FF2B5EF4-FFF2-40B4-BE49-F238E27FC236}">
                    <a16:creationId xmlns="" xmlns:a16="http://schemas.microsoft.com/office/drawing/2014/main" id="{840EF394-0D3F-4E4D-99E0-7A10E4DF33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3">
                <a:extLst>
                  <a:ext uri="{FF2B5EF4-FFF2-40B4-BE49-F238E27FC236}">
                    <a16:creationId xmlns="" xmlns:a16="http://schemas.microsoft.com/office/drawing/2014/main" id="{0D50A9A9-D079-4C84-A5D3-0C269920F0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" name="Line 2">
                <a:extLst>
                  <a:ext uri="{FF2B5EF4-FFF2-40B4-BE49-F238E27FC236}">
                    <a16:creationId xmlns="" xmlns:a16="http://schemas.microsoft.com/office/drawing/2014/main" id="{A043AC16-C6D7-45EB-A54A-94331C160A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" name="Line 1">
                <a:extLst>
                  <a:ext uri="{FF2B5EF4-FFF2-40B4-BE49-F238E27FC236}">
                    <a16:creationId xmlns="" xmlns:a16="http://schemas.microsoft.com/office/drawing/2014/main" id="{2C2FEFEA-0BCE-463A-8F46-8FD064D3CB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Five column measure">
              <a:extLst>
                <a:ext uri="{FF2B5EF4-FFF2-40B4-BE49-F238E27FC236}">
                  <a16:creationId xmlns="" xmlns:a16="http://schemas.microsoft.com/office/drawing/2014/main" id="{75EB9134-6932-4A72-930D-CEE153817730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>
                <a:extLst>
                  <a:ext uri="{FF2B5EF4-FFF2-40B4-BE49-F238E27FC236}">
                    <a16:creationId xmlns="" xmlns:a16="http://schemas.microsoft.com/office/drawing/2014/main" id="{8D20D737-BBD7-49C6-BC7A-619407E765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4">
                <a:extLst>
                  <a:ext uri="{FF2B5EF4-FFF2-40B4-BE49-F238E27FC236}">
                    <a16:creationId xmlns="" xmlns:a16="http://schemas.microsoft.com/office/drawing/2014/main" id="{7E68FFEC-9143-4A1C-9D00-0D10C0206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3">
                <a:extLst>
                  <a:ext uri="{FF2B5EF4-FFF2-40B4-BE49-F238E27FC236}">
                    <a16:creationId xmlns="" xmlns:a16="http://schemas.microsoft.com/office/drawing/2014/main" id="{76284A06-13DB-4877-B21B-972ECF05C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9" name="Column 2">
                <a:extLst>
                  <a:ext uri="{FF2B5EF4-FFF2-40B4-BE49-F238E27FC236}">
                    <a16:creationId xmlns="" xmlns:a16="http://schemas.microsoft.com/office/drawing/2014/main" id="{06B5B20C-0E7D-418E-9B80-7E2178D3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20" name="Column 1">
                <a:extLst>
                  <a:ext uri="{FF2B5EF4-FFF2-40B4-BE49-F238E27FC236}">
                    <a16:creationId xmlns="" xmlns:a16="http://schemas.microsoft.com/office/drawing/2014/main" id="{9D23A270-FD6A-40FA-8C3F-E665DC0FC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4" name="Live space">
              <a:extLst>
                <a:ext uri="{FF2B5EF4-FFF2-40B4-BE49-F238E27FC236}">
                  <a16:creationId xmlns="" xmlns:a16="http://schemas.microsoft.com/office/drawing/2014/main" id="{9E7D9C51-01F9-4E70-91D2-50DD95F73F21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="" xmlns:a16="http://schemas.microsoft.com/office/drawing/2014/main" id="{00137F33-D17C-4487-96B7-6531DAF5534F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A6A6A6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2" name="Date Placeholder 1">
            <a:extLst>
              <a:ext uri="{FF2B5EF4-FFF2-40B4-BE49-F238E27FC236}">
                <a16:creationId xmlns="" xmlns:a16="http://schemas.microsoft.com/office/drawing/2014/main" id="{D86E00FC-A16F-4A9B-9B8A-9041360B1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5080987-94DB-4B61-9392-B9B7184F5E4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61168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="" xmlns:a16="http://schemas.microsoft.com/office/drawing/2014/main" id="{DEC9A61C-7C35-42DB-90FF-7983D788320B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="" xmlns:a16="http://schemas.microsoft.com/office/drawing/2014/main" id="{5773663B-63BA-4441-8569-F7314FDCEA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24AE517D-FD8A-4FEE-8D02-576844ABFA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="" xmlns:a16="http://schemas.microsoft.com/office/drawing/2014/main" id="{1DC4013C-DE6F-4DD3-A2AE-B1DC480CDA51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="" xmlns:a16="http://schemas.microsoft.com/office/drawing/2014/main" id="{3D150162-CA00-4364-B304-06F755DE65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="" xmlns:a16="http://schemas.microsoft.com/office/drawing/2014/main" id="{B7914CD7-03B1-47C4-B56B-6B1BD94741E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516437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10380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3F957B94-26EB-44AC-98D8-D1779EB3E5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5361E4-9706-4AC3-845C-04B96D73B645}" type="datetime1">
              <a:rPr lang="en-US" smtClean="0"/>
              <a:t>5/22/2023</a:t>
            </a:fld>
            <a:endParaRPr lang="en-US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30D02BDB-6E55-4997-BC2C-325B5F71F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19C2FD1E-D726-45BD-BC8A-6F8D43AE0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C6E5D-608C-4D80-A92C-363E2618163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01704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18C5D88E-12BF-497F-A5E0-B0A023F70F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18C5D88E-12BF-497F-A5E0-B0A023F70F3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F1E35532-7227-4935-81E9-543FF6C7AE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617CE7E-40DE-4348-9D6C-6960768AE3C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35D7D049-211A-4176-A13F-07DD737DBA2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="" xmlns:a16="http://schemas.microsoft.com/office/drawing/2014/main" id="{AB1FEF0D-15C2-4C8E-83BC-A070FE4EF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5CE7B91-CBD9-4EBA-B410-DDD57FA5D14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59353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51462A46-721F-449F-B175-F89F40BF39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6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51462A46-721F-449F-B175-F89F40BF390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="" xmlns:a16="http://schemas.microsoft.com/office/drawing/2014/main" id="{46792E52-E34C-4A9B-BAD5-EE59A5CAF5A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6B0CDEE-7066-4773-B7CD-6997157D518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PanelGray">
            <a:extLst>
              <a:ext uri="{FF2B5EF4-FFF2-40B4-BE49-F238E27FC236}">
                <a16:creationId xmlns="" xmlns:a16="http://schemas.microsoft.com/office/drawing/2014/main" id="{AF896A6E-9988-42EA-91B9-84D1F55FAB87}"/>
              </a:ext>
            </a:extLst>
          </p:cNvPr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45C5CF16-4FF2-4CA4-B1B8-986F7C6AF18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="" xmlns:a16="http://schemas.microsoft.com/office/drawing/2014/main" id="{6F2D5FD0-262C-4341-BB1A-5EC07E6CF92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B373B96-0B1B-412B-AF80-4C334B01259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1398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06160DFB-954E-4FFD-BAE8-8A389D0C0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9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06160DFB-954E-4FFD-BAE8-8A389D0C04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8FAAB1E8-CD19-461B-B6C6-2D24810182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C9DF5F0-A1A9-4C84-BAA3-CC39037B7F3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408BE4D9-D428-4D46-98DB-F61D2D4F901D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D6CC91F-0C34-490F-AF91-3392E0D794F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8">
            <a:extLst>
              <a:ext uri="{FF2B5EF4-FFF2-40B4-BE49-F238E27FC236}">
                <a16:creationId xmlns="" xmlns:a16="http://schemas.microsoft.com/office/drawing/2014/main" id="{A569B31B-DEE4-4507-A718-ACFA19D33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EBE9CFA-B52C-43E4-8FEE-4E100A2DDCF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96347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07F91B52-C2D7-48F9-BC18-1FB47F5776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07F91B52-C2D7-48F9-BC18-1FB47F57764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2EA61287-2204-45EA-9EDD-A845A8D29E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17E7816-F5DA-48D1-933F-3CC494EED1F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Line">
            <a:extLst>
              <a:ext uri="{FF2B5EF4-FFF2-40B4-BE49-F238E27FC236}">
                <a16:creationId xmlns="" xmlns:a16="http://schemas.microsoft.com/office/drawing/2014/main" id="{7C7330EB-FEFB-4801-958F-3703A33CF012}"/>
              </a:ext>
            </a:extLst>
          </p:cNvPr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8">
            <a:extLst>
              <a:ext uri="{FF2B5EF4-FFF2-40B4-BE49-F238E27FC236}">
                <a16:creationId xmlns="" xmlns:a16="http://schemas.microsoft.com/office/drawing/2014/main" id="{E78C93D0-2765-44B1-AF29-622526659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E8B9923-E5EA-48F0-A27A-335E4ADB9D3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810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3A97E513-C498-427F-84E6-AE9771C593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E326E6DC-843D-4908-9E37-C4AAADA05E04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BAA5381B-01B3-4505-9CDB-15FE46839A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BFF3F89-AF08-4F36-9CE8-D9F63D8700B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F1F11EFF-2E01-485F-8990-2815934A078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0D70B90F-2E6B-48B3-AFA6-3EAF1294D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AE44058-DD7C-4A9E-9040-4C4131A5D32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27069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B734A16B-8F98-4FD7-BFF0-BC3CD6870F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460299BE-1C52-437D-90F4-99040D33446F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78A499D9-7335-4D75-95FB-169A5DA87F1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5746953-D43D-4852-9E8D-79513AF1A93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84959392-A26F-4E18-ADC2-47F241CC71E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19A2BA2F-D5B6-4EF8-AF52-D10C90E34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FA6FF58-9DF4-4EBC-A294-7B128A428C3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3325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1519CE45-51F8-4CA2-9004-32CC19A07FF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7F21298-9B5E-4413-8E4C-8F4AC7DF3F8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Shadow">
            <a:extLst>
              <a:ext uri="{FF2B5EF4-FFF2-40B4-BE49-F238E27FC236}">
                <a16:creationId xmlns="" xmlns:a16="http://schemas.microsoft.com/office/drawing/2014/main" id="{C8402402-218B-48D9-A496-242C794EEC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C7600CD7-030F-4EA2-8E29-5449B7577821}"/>
              </a:ext>
            </a:extLst>
          </p:cNvPr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9EB5798E-B8B4-4AA6-9E94-A327F963051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EAAF2752-938F-40A3-96EF-3A3A92E98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13E9E9C-2E02-4E8B-8823-11AF9743EAD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37777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CBB9F84A-D1A7-4A33-8D77-D015D37F3E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04E898ED-F6A9-4C06-B36C-8EE3E6CD133D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BC9EA9D-5096-4675-B274-DDDB4D5AA49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6FB1422-1A5F-4EFC-AD53-69CD1EB2D60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EAC21DFA-6F69-41FF-ABB7-24CAC955589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855204CA-337C-4157-B9AB-45F84DD80A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FA69675-2B59-4E3D-B492-7EFB9B674F2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51301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0D1E7ADD-D111-45E3-8403-0111D74505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FCBFFFE6-718A-4B11-A2EF-589C64BB461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33CD89D7-BD92-4363-98EB-16A0025F878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75FC17D-EF3F-429C-9D7C-5F9676C5144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1D140E86-9425-4F59-8409-9E30DFF375C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9BAFFCB1-2A93-4FAB-B36A-BA51CFE92E1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C131AD5-8C7A-497B-B8AA-C4A4D028380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61056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8181FA29-260B-41B1-AF0A-A88499B439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="" xmlns:a16="http://schemas.microsoft.com/office/drawing/2014/main" id="{3456BB96-2D54-48D1-A904-2643E0D9A9FC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71BB6D13-BA7C-4D20-8899-9C8278E4B95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B6D0816-B7E5-40C6-9ACA-7A9C24C94E8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EFF2E1C9-A45F-4EF8-9BC0-B2B1E5D97B2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68EE21F7-845A-4965-90E2-9D3FF583A18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3DD0A50-796C-48DE-8031-20992D924F7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28655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3">
            <a:extLst>
              <a:ext uri="{FF2B5EF4-FFF2-40B4-BE49-F238E27FC236}">
                <a16:creationId xmlns="" xmlns:a16="http://schemas.microsoft.com/office/drawing/2014/main" id="{F4591480-3E7B-4598-A35C-8DFA7197E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D78417-6EFE-49E0-827F-0D34510C377D}" type="datetime1">
              <a:rPr lang="en-US" smtClean="0"/>
              <a:t>5/22/2023</a:t>
            </a:fld>
            <a:endParaRPr lang="en-US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="" xmlns:a16="http://schemas.microsoft.com/office/drawing/2014/main" id="{82076BBF-55B3-4AA7-B287-D8582C1465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Номер слайда 5">
            <a:extLst>
              <a:ext uri="{FF2B5EF4-FFF2-40B4-BE49-F238E27FC236}">
                <a16:creationId xmlns="" xmlns:a16="http://schemas.microsoft.com/office/drawing/2014/main" id="{68B6E218-DDAB-411E-9BFC-3D5CCAB91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82A77F-378A-416F-8DAD-12B6F6A09F3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722860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3DED87F4-FCE4-46E5-8C13-89B0E7506BC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432838CC-D29B-4123-A467-B384C958CF06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B59570F4-CDA3-4C35-B668-91E66ABAD9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BE3AACB-04C3-47F7-98D0-DEAD1C3C7C1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CE153BF-0E54-48BF-8B72-696A0C72256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C24D7EED-6556-49EE-9597-FAB9066A6C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BB36503-852A-4C44-A136-55EF919C434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03145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B1E7FEE2-F2E4-4B61-87ED-3B209FF78FC5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BD9430E5-22AF-4CD2-983F-91DDD6AA4A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2D9E593-3D2A-415F-B656-3FFC97EB816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46FBC60-56E8-4F5A-965F-8378595CA04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="" xmlns:a16="http://schemas.microsoft.com/office/drawing/2014/main" id="{05BFECBA-357C-43A8-9920-D4D231CC1A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B2DF1293-98A9-47D6-951C-BDD42CAEFB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874CAAC-0CC7-462F-8B43-B2F0C051FCA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87244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68D6CA6D-256C-4537-81DB-A2D056BCF0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7E1F307F-F697-494B-A9D4-DA88C6FAD6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3F5FD488-BFD9-4829-B146-24E056854F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BD98F93-AA7A-40B6-B762-8F90E5587BC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9787772-4FFF-4E05-9835-2CF39FD6635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BFC94828-1791-4F38-8FE1-E8E6E5944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A6A9F5E-FED8-4AD1-A1F0-3FD477C3982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91254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536FFA37-3F7C-46C4-9A9F-DFE943353A8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E10F8861-9EA9-442E-96D9-A259587D42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0D2ABCC-A221-4E8B-9E0D-E8A807EBAFB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51A72C6B-7CFA-4FAA-8673-CC8A0E4FEB8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A81F3241-C2CA-433B-9AF8-AC0C649BA1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ADC654D4-2BB5-47C5-9E68-118A0A4B1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16F7DDB-876F-4024-BC2B-56428BE4E850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55153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DF9EEC10-C03B-4C45-B3C1-C7CC468AB5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8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DF9EEC10-C03B-4C45-B3C1-C7CC468AB56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Shadow">
            <a:extLst>
              <a:ext uri="{FF2B5EF4-FFF2-40B4-BE49-F238E27FC236}">
                <a16:creationId xmlns="" xmlns:a16="http://schemas.microsoft.com/office/drawing/2014/main" id="{BFF833F1-6BA0-4201-A6B5-8F78172110E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rowPanelWhite">
            <a:extLst>
              <a:ext uri="{FF2B5EF4-FFF2-40B4-BE49-F238E27FC236}">
                <a16:creationId xmlns="" xmlns:a16="http://schemas.microsoft.com/office/drawing/2014/main" id="{452A29ED-E54D-45B6-8557-22B0535435E4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>
            <a:extLst>
              <a:ext uri="{FF2B5EF4-FFF2-40B4-BE49-F238E27FC236}">
                <a16:creationId xmlns="" xmlns:a16="http://schemas.microsoft.com/office/drawing/2014/main" id="{6F38C5A7-8A87-494E-B4CF-7AD1B8B5AB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CD51D3E-55FD-4C9A-844A-31B13ED91D6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ooterSimple" hidden="1">
            <a:extLst>
              <a:ext uri="{FF2B5EF4-FFF2-40B4-BE49-F238E27FC236}">
                <a16:creationId xmlns="" xmlns:a16="http://schemas.microsoft.com/office/drawing/2014/main" id="{240F0218-0381-4F6B-8AF6-6DB09E00D67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="" xmlns:a16="http://schemas.microsoft.com/office/drawing/2014/main" id="{8C76FF5B-BDF2-43BF-A891-C5ECA6243C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3CFA76B-5078-4A53-980E-21191CB5E2E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1007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EA2BBE0F-AB9E-4925-AC42-5BDA0D50DCA8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C61D67E3-CA79-46B1-A854-22421273269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B00D1B5-F1DD-4B25-8438-5FCB319A075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142A84F0-A5B1-41C8-9A4F-94D95A9284E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="" xmlns:a16="http://schemas.microsoft.com/office/drawing/2014/main" id="{DBD385BC-0A9B-43F9-96D3-525DEBBCEB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F9D0B9A3-FA7F-41F2-BFE8-15DBD114E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6F78677-C603-4AEC-954B-C89CDB09F36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6477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F9DD4CF3-B129-43A3-9EE9-B1C18888C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B13E9D0A-3457-41D6-A2F3-6BD47FB0B381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0AC380FC-FAD6-4A52-AC26-6F76500A07A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7F6A0C7-E2AA-4EB2-A3E4-6FD81BA52DF4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9DEB12BB-B453-413C-8E93-09453B7001B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9ABB5710-CA11-4A82-A653-941862339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00425DF-1B2B-4E50-9731-41D97341201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14345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DF90C4B8-23BC-40B6-A929-B9D3FE416680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EEDC4EC8-2422-482E-B25A-49EC6D5480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8B1FE18-BDA6-4DF8-948C-157305D76AB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3C00BEAF-9B75-4410-B808-31B9B34DBB0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7">
            <a:extLst>
              <a:ext uri="{FF2B5EF4-FFF2-40B4-BE49-F238E27FC236}">
                <a16:creationId xmlns="" xmlns:a16="http://schemas.microsoft.com/office/drawing/2014/main" id="{2DDDF19D-8A9B-4CE1-8018-549CF9025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1236DD5E-1CC4-482C-A589-302292A68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A0E11AA-A91E-4D6F-8458-2B67E17D9FB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40028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71C39643-24E2-448C-8A4C-959A39A20E5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3818375-C96D-4AAE-9037-7E0CF5BF103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6E65E449-54CF-4654-84A1-42CC1045A72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C0B27515-94DA-4B89-B74D-3A6EB5EF4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93DD8AA-EC66-4CD3-BE84-48C4E2E925C9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37226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74C059C3-1DDF-4829-A95B-3AC2F72EC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74C059C3-1DDF-4829-A95B-3AC2F72ECC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136FAE2B-BBDB-425F-8CDE-DACDEF88E2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D297084-0DDF-4AAC-B10E-B5D582C0593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ED0A3E3D-61A0-439B-B86C-BF9D274BBDAE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9572953-F48C-4D86-9C36-D1128F265D9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="" xmlns:a16="http://schemas.microsoft.com/office/drawing/2014/main" id="{FD37C510-DD37-44A2-969F-F5EFDF084F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AABD326-DA03-4825-A700-D9C2EADC581C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32225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3">
            <a:extLst>
              <a:ext uri="{FF2B5EF4-FFF2-40B4-BE49-F238E27FC236}">
                <a16:creationId xmlns="" xmlns:a16="http://schemas.microsoft.com/office/drawing/2014/main" id="{2A9FACFA-1765-4BA7-9036-9A95427AF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1FB9F1-2862-45B9-8F30-F32B77856CD3}" type="datetime1">
              <a:rPr lang="en-US" smtClean="0"/>
              <a:t>5/22/2023</a:t>
            </a:fld>
            <a:endParaRPr lang="en-US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="" xmlns:a16="http://schemas.microsoft.com/office/drawing/2014/main" id="{EECF07CF-77A6-4D54-9367-7B63628DA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Номер слайда 5">
            <a:extLst>
              <a:ext uri="{FF2B5EF4-FFF2-40B4-BE49-F238E27FC236}">
                <a16:creationId xmlns="" xmlns:a16="http://schemas.microsoft.com/office/drawing/2014/main" id="{75F9197A-485B-4463-8628-0E687BDC5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84D90-66F4-48FB-BA38-D703BB3281B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70031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FEB8A901-FAB2-45E8-AE8B-21691CA9F8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age">
            <a:extLst>
              <a:ext uri="{FF2B5EF4-FFF2-40B4-BE49-F238E27FC236}">
                <a16:creationId xmlns="" xmlns:a16="http://schemas.microsoft.com/office/drawing/2014/main" id="{9419F2BA-8788-49AF-BE7B-69A7AD9FD7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EB3B739-DD4E-4870-919F-C190A591E1C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Bubble">
            <a:extLst>
              <a:ext uri="{FF2B5EF4-FFF2-40B4-BE49-F238E27FC236}">
                <a16:creationId xmlns="" xmlns:a16="http://schemas.microsoft.com/office/drawing/2014/main" id="{84A07B31-CCBD-451C-9148-0C0D3CF8AE4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5" name="Rectangle 9">
              <a:extLst>
                <a:ext uri="{FF2B5EF4-FFF2-40B4-BE49-F238E27FC236}">
                  <a16:creationId xmlns="" xmlns:a16="http://schemas.microsoft.com/office/drawing/2014/main" id="{E1E40FE9-DFDE-42B9-8F52-4274A09CE2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" name="Right Triangle 10">
              <a:extLst>
                <a:ext uri="{FF2B5EF4-FFF2-40B4-BE49-F238E27FC236}">
                  <a16:creationId xmlns="" xmlns:a16="http://schemas.microsoft.com/office/drawing/2014/main" id="{0F1CE58D-7A44-4992-B4D0-D0910E6F69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E5B9A8EF-CD47-47BC-8595-BA134E899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CCF20F9-3D60-4BDF-9715-882A5F05BF5D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633315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22FBD54D-9A17-4658-BF3D-DC92FAB5FBC5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3005A76-F85C-475F-95B9-A755E262F4E8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83950A48-59BA-4310-BB06-39CBECD392F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2">
            <a:extLst>
              <a:ext uri="{FF2B5EF4-FFF2-40B4-BE49-F238E27FC236}">
                <a16:creationId xmlns="" xmlns:a16="http://schemas.microsoft.com/office/drawing/2014/main" id="{C165F80F-1B9B-4B5D-9291-5B544968EE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D3ED68F-31B4-41B6-9684-4366A82CB3F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96646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5AF6BC70-0D2C-4F60-80D1-B53A1C6B2E1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rrowPanelWhite">
            <a:extLst>
              <a:ext uri="{FF2B5EF4-FFF2-40B4-BE49-F238E27FC236}">
                <a16:creationId xmlns="" xmlns:a16="http://schemas.microsoft.com/office/drawing/2014/main" id="{0D961D2A-E188-4553-AE40-16CD4DCED03E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3267B3FC-8133-40C7-B3C3-9A22F8340C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202E957-12E1-4EEF-B45B-93A47D68E5D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="" xmlns:a16="http://schemas.microsoft.com/office/drawing/2014/main" id="{30C30BBE-D9B1-4F86-B51E-52A1063B365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725EC828-50C6-4C9B-8A6B-759F15802E3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5FE04A86-4E50-4407-9895-8BEEEFB2D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7B77FBF-7B57-46AA-980C-CAFC3E820DF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35243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="" xmlns:a16="http://schemas.microsoft.com/office/drawing/2014/main" id="{7407A607-5AE8-47C6-A03E-2C78EA77CC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5F0E292-12C6-4DA2-AE2F-DC0FBCE76BB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="" xmlns:a16="http://schemas.microsoft.com/office/drawing/2014/main" id="{103E4323-BFEE-43AD-A734-725AA9732E2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4">
            <a:extLst>
              <a:ext uri="{FF2B5EF4-FFF2-40B4-BE49-F238E27FC236}">
                <a16:creationId xmlns="" xmlns:a16="http://schemas.microsoft.com/office/drawing/2014/main" id="{2348FD7C-916A-47C2-9A3C-F825207A7B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AEA7E8D-DE2D-4717-A40C-2B2E1EAE313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67350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5D37F090-770B-480A-82DE-FCD016673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2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5D37F090-770B-480A-82DE-FCD01667322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29F9EEB9-805A-4A85-88AD-1E6AAAC408C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90973DB-0A16-4C00-BA11-63944CD67CA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6A7EDA3A-CBC0-4264-BC4E-2EC4C1532D2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6">
            <a:extLst>
              <a:ext uri="{FF2B5EF4-FFF2-40B4-BE49-F238E27FC236}">
                <a16:creationId xmlns="" xmlns:a16="http://schemas.microsoft.com/office/drawing/2014/main" id="{764600D8-7DCF-4CF8-A592-1467D4A8E6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8C79C1D-7B11-438F-8514-B302D72B790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978228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95F49A14-C816-41AA-B7EA-202704735B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95F49A14-C816-41AA-B7EA-202704735B2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2FEB6084-5EA0-4B3C-8450-0200A563B1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2E9130B-EF8E-4A36-823F-B47268D459A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6A94D567-59AA-4130-8ABD-22240E9C2CF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233899333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59148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864875E6-E970-4470-9234-4570EECF4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9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864875E6-E970-4470-9234-4570EECF47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46A92748-C9B0-4EAF-8569-47393C61E0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B056D90-8B78-4DDA-A7B0-E1FD6E901F5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A4Grid">
            <a:extLst>
              <a:ext uri="{FF2B5EF4-FFF2-40B4-BE49-F238E27FC236}">
                <a16:creationId xmlns="" xmlns:a16="http://schemas.microsoft.com/office/drawing/2014/main" id="{0DD05F14-EC87-4072-9416-6D93C974B25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" name="Slide edges">
              <a:extLst>
                <a:ext uri="{FF2B5EF4-FFF2-40B4-BE49-F238E27FC236}">
                  <a16:creationId xmlns="" xmlns:a16="http://schemas.microsoft.com/office/drawing/2014/main" id="{F3F40500-836D-4A74-A313-FFBC252330F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6" name="No-fly zone">
              <a:extLst>
                <a:ext uri="{FF2B5EF4-FFF2-40B4-BE49-F238E27FC236}">
                  <a16:creationId xmlns="" xmlns:a16="http://schemas.microsoft.com/office/drawing/2014/main" id="{2D8F9E61-4BDE-4702-94F0-946EEB5CEE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="" xmlns:a16="http://schemas.microsoft.com/office/drawing/2014/main" id="{5135F8B1-2B76-4F06-8EB9-9363EB320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="" xmlns:a16="http://schemas.microsoft.com/office/drawing/2014/main" id="{66ED32FA-B31A-49A7-8E52-F6B4A83C8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9" name="Gutter space">
              <a:extLst>
                <a:ext uri="{FF2B5EF4-FFF2-40B4-BE49-F238E27FC236}">
                  <a16:creationId xmlns="" xmlns:a16="http://schemas.microsoft.com/office/drawing/2014/main" id="{A38970A3-BBF4-4711-9304-A12E4D9AB5C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39" name="Gutter 11">
                <a:extLst>
                  <a:ext uri="{FF2B5EF4-FFF2-40B4-BE49-F238E27FC236}">
                    <a16:creationId xmlns="" xmlns:a16="http://schemas.microsoft.com/office/drawing/2014/main" id="{18DD1590-4050-441C-A050-159E7893D6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0" name="Gutter 10">
                <a:extLst>
                  <a:ext uri="{FF2B5EF4-FFF2-40B4-BE49-F238E27FC236}">
                    <a16:creationId xmlns="" xmlns:a16="http://schemas.microsoft.com/office/drawing/2014/main" id="{B83456E4-DA7B-47A4-88B5-AB2DA1638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1" name="Gutter 9">
                <a:extLst>
                  <a:ext uri="{FF2B5EF4-FFF2-40B4-BE49-F238E27FC236}">
                    <a16:creationId xmlns="" xmlns:a16="http://schemas.microsoft.com/office/drawing/2014/main" id="{16CC76C2-F129-48C7-ABC8-23133A1028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8">
                <a:extLst>
                  <a:ext uri="{FF2B5EF4-FFF2-40B4-BE49-F238E27FC236}">
                    <a16:creationId xmlns="" xmlns:a16="http://schemas.microsoft.com/office/drawing/2014/main" id="{5DD02346-7A30-4E43-9413-18DA86A9CA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7">
                <a:extLst>
                  <a:ext uri="{FF2B5EF4-FFF2-40B4-BE49-F238E27FC236}">
                    <a16:creationId xmlns="" xmlns:a16="http://schemas.microsoft.com/office/drawing/2014/main" id="{6BE5EA6B-9F44-41F6-B32B-B8D9871F3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6">
                <a:extLst>
                  <a:ext uri="{FF2B5EF4-FFF2-40B4-BE49-F238E27FC236}">
                    <a16:creationId xmlns="" xmlns:a16="http://schemas.microsoft.com/office/drawing/2014/main" id="{E5083DEA-2BD9-4BE9-9785-C77C48A55B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5">
                <a:extLst>
                  <a:ext uri="{FF2B5EF4-FFF2-40B4-BE49-F238E27FC236}">
                    <a16:creationId xmlns="" xmlns:a16="http://schemas.microsoft.com/office/drawing/2014/main" id="{DA4285D0-D5C9-401D-9547-C6EDBB9A50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4">
                <a:extLst>
                  <a:ext uri="{FF2B5EF4-FFF2-40B4-BE49-F238E27FC236}">
                    <a16:creationId xmlns="" xmlns:a16="http://schemas.microsoft.com/office/drawing/2014/main" id="{B431612C-AEE3-44F7-8D62-852163AA4A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3">
                <a:extLst>
                  <a:ext uri="{FF2B5EF4-FFF2-40B4-BE49-F238E27FC236}">
                    <a16:creationId xmlns="" xmlns:a16="http://schemas.microsoft.com/office/drawing/2014/main" id="{EE470572-8F21-4615-9AF6-FDD81C0A3D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2">
                <a:extLst>
                  <a:ext uri="{FF2B5EF4-FFF2-40B4-BE49-F238E27FC236}">
                    <a16:creationId xmlns="" xmlns:a16="http://schemas.microsoft.com/office/drawing/2014/main" id="{131F631F-4B41-497E-8B41-33E9CDBA51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1">
                <a:extLst>
                  <a:ext uri="{FF2B5EF4-FFF2-40B4-BE49-F238E27FC236}">
                    <a16:creationId xmlns="" xmlns:a16="http://schemas.microsoft.com/office/drawing/2014/main" id="{70D86348-74B8-4003-B02C-A654E2F7B3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Baselines/Anchors">
              <a:extLst>
                <a:ext uri="{FF2B5EF4-FFF2-40B4-BE49-F238E27FC236}">
                  <a16:creationId xmlns="" xmlns:a16="http://schemas.microsoft.com/office/drawing/2014/main" id="{1211BE88-5C70-4CD5-842C-30EED5377B9F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19" name="Line 20">
                <a:extLst>
                  <a:ext uri="{FF2B5EF4-FFF2-40B4-BE49-F238E27FC236}">
                    <a16:creationId xmlns="" xmlns:a16="http://schemas.microsoft.com/office/drawing/2014/main" id="{7595FACC-CC7A-41AE-A9A3-F804683319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="" xmlns:a16="http://schemas.microsoft.com/office/drawing/2014/main" id="{E104CF91-5185-4920-9C48-F503E5DCCA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Line 18">
                <a:extLst>
                  <a:ext uri="{FF2B5EF4-FFF2-40B4-BE49-F238E27FC236}">
                    <a16:creationId xmlns="" xmlns:a16="http://schemas.microsoft.com/office/drawing/2014/main" id="{3047F062-98C1-423A-935C-EC866914D4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7">
                <a:extLst>
                  <a:ext uri="{FF2B5EF4-FFF2-40B4-BE49-F238E27FC236}">
                    <a16:creationId xmlns="" xmlns:a16="http://schemas.microsoft.com/office/drawing/2014/main" id="{8FCDD5AB-6C76-4E6F-8FD3-F23991914E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6">
                <a:extLst>
                  <a:ext uri="{FF2B5EF4-FFF2-40B4-BE49-F238E27FC236}">
                    <a16:creationId xmlns="" xmlns:a16="http://schemas.microsoft.com/office/drawing/2014/main" id="{165E84F3-EDD3-4335-97AA-484766EA4B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5">
                <a:extLst>
                  <a:ext uri="{FF2B5EF4-FFF2-40B4-BE49-F238E27FC236}">
                    <a16:creationId xmlns="" xmlns:a16="http://schemas.microsoft.com/office/drawing/2014/main" id="{0ED0DEB7-4BB8-42CD-89A0-504D3DC6F5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4">
                <a:extLst>
                  <a:ext uri="{FF2B5EF4-FFF2-40B4-BE49-F238E27FC236}">
                    <a16:creationId xmlns="" xmlns:a16="http://schemas.microsoft.com/office/drawing/2014/main" id="{2E433968-05E4-493B-9ABF-C6736C8007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3">
                <a:extLst>
                  <a:ext uri="{FF2B5EF4-FFF2-40B4-BE49-F238E27FC236}">
                    <a16:creationId xmlns="" xmlns:a16="http://schemas.microsoft.com/office/drawing/2014/main" id="{437CC49E-2EB0-426A-8588-583E232723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2">
                <a:extLst>
                  <a:ext uri="{FF2B5EF4-FFF2-40B4-BE49-F238E27FC236}">
                    <a16:creationId xmlns="" xmlns:a16="http://schemas.microsoft.com/office/drawing/2014/main" id="{FB724C8D-829B-49A4-BBAD-30EF9C70B6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1">
                <a:extLst>
                  <a:ext uri="{FF2B5EF4-FFF2-40B4-BE49-F238E27FC236}">
                    <a16:creationId xmlns="" xmlns:a16="http://schemas.microsoft.com/office/drawing/2014/main" id="{253C7C2F-95CF-45F0-88E3-F4B66321D7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="" xmlns:a16="http://schemas.microsoft.com/office/drawing/2014/main" id="{A10D1B44-CE67-4D1B-881A-50182FEA6A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="" xmlns:a16="http://schemas.microsoft.com/office/drawing/2014/main" id="{682F0768-CB08-41D0-A88C-C87276608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8">
                <a:extLst>
                  <a:ext uri="{FF2B5EF4-FFF2-40B4-BE49-F238E27FC236}">
                    <a16:creationId xmlns="" xmlns:a16="http://schemas.microsoft.com/office/drawing/2014/main" id="{5994C477-7466-4810-8C43-8FA135AEF1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7">
                <a:extLst>
                  <a:ext uri="{FF2B5EF4-FFF2-40B4-BE49-F238E27FC236}">
                    <a16:creationId xmlns="" xmlns:a16="http://schemas.microsoft.com/office/drawing/2014/main" id="{8F3FDE06-BF65-42B4-8F5A-8E0D77BB78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6">
                <a:extLst>
                  <a:ext uri="{FF2B5EF4-FFF2-40B4-BE49-F238E27FC236}">
                    <a16:creationId xmlns="" xmlns:a16="http://schemas.microsoft.com/office/drawing/2014/main" id="{13ABA0CE-70F7-4078-AE0C-9E9B99FA2B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5">
                <a:extLst>
                  <a:ext uri="{FF2B5EF4-FFF2-40B4-BE49-F238E27FC236}">
                    <a16:creationId xmlns="" xmlns:a16="http://schemas.microsoft.com/office/drawing/2014/main" id="{3E96CCF3-D2E0-456F-82FB-16959B022C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4">
                <a:extLst>
                  <a:ext uri="{FF2B5EF4-FFF2-40B4-BE49-F238E27FC236}">
                    <a16:creationId xmlns="" xmlns:a16="http://schemas.microsoft.com/office/drawing/2014/main" id="{D48AEF4E-A4EF-41E7-AED5-EA7C6D026F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3">
                <a:extLst>
                  <a:ext uri="{FF2B5EF4-FFF2-40B4-BE49-F238E27FC236}">
                    <a16:creationId xmlns="" xmlns:a16="http://schemas.microsoft.com/office/drawing/2014/main" id="{EC60478C-E8D2-4903-BE01-47BB55D00F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2">
                <a:extLst>
                  <a:ext uri="{FF2B5EF4-FFF2-40B4-BE49-F238E27FC236}">
                    <a16:creationId xmlns="" xmlns:a16="http://schemas.microsoft.com/office/drawing/2014/main" id="{7E9667AF-135E-4B86-955A-33D7F6FC2F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1">
                <a:extLst>
                  <a:ext uri="{FF2B5EF4-FFF2-40B4-BE49-F238E27FC236}">
                    <a16:creationId xmlns="" xmlns:a16="http://schemas.microsoft.com/office/drawing/2014/main" id="{62DEB7EF-1CDF-42A6-BCDC-4A3D16537C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Five column measure">
              <a:extLst>
                <a:ext uri="{FF2B5EF4-FFF2-40B4-BE49-F238E27FC236}">
                  <a16:creationId xmlns="" xmlns:a16="http://schemas.microsoft.com/office/drawing/2014/main" id="{390E88C8-5B6E-4E01-9051-4BF9BE7BDF77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4" name="Column 5">
                <a:extLst>
                  <a:ext uri="{FF2B5EF4-FFF2-40B4-BE49-F238E27FC236}">
                    <a16:creationId xmlns="" xmlns:a16="http://schemas.microsoft.com/office/drawing/2014/main" id="{23FBD049-259E-4670-949F-B1EC230AE7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5" name="Column 4">
                <a:extLst>
                  <a:ext uri="{FF2B5EF4-FFF2-40B4-BE49-F238E27FC236}">
                    <a16:creationId xmlns="" xmlns:a16="http://schemas.microsoft.com/office/drawing/2014/main" id="{3C98515A-E507-4E63-AEC5-DBA05AD0F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6" name="Column 3">
                <a:extLst>
                  <a:ext uri="{FF2B5EF4-FFF2-40B4-BE49-F238E27FC236}">
                    <a16:creationId xmlns="" xmlns:a16="http://schemas.microsoft.com/office/drawing/2014/main" id="{09060965-8BB4-4EF7-B04D-BB18184D9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2">
                <a:extLst>
                  <a:ext uri="{FF2B5EF4-FFF2-40B4-BE49-F238E27FC236}">
                    <a16:creationId xmlns="" xmlns:a16="http://schemas.microsoft.com/office/drawing/2014/main" id="{26FDD3F1-30AC-46AB-9797-A60C4A09E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1">
                <a:extLst>
                  <a:ext uri="{FF2B5EF4-FFF2-40B4-BE49-F238E27FC236}">
                    <a16:creationId xmlns="" xmlns:a16="http://schemas.microsoft.com/office/drawing/2014/main" id="{84A56EF8-24B9-422F-B06E-44D681D00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2" name="Live space">
              <a:extLst>
                <a:ext uri="{FF2B5EF4-FFF2-40B4-BE49-F238E27FC236}">
                  <a16:creationId xmlns="" xmlns:a16="http://schemas.microsoft.com/office/drawing/2014/main" id="{79D55192-F5E7-4EEF-B8B6-D393005DD2B2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="" xmlns:a16="http://schemas.microsoft.com/office/drawing/2014/main" id="{68C6B447-250D-4CDE-A8B7-B1F9EB980FC8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0" name="FooterSimple" hidden="1">
            <a:extLst>
              <a:ext uri="{FF2B5EF4-FFF2-40B4-BE49-F238E27FC236}">
                <a16:creationId xmlns="" xmlns:a16="http://schemas.microsoft.com/office/drawing/2014/main" id="{E05E230A-190C-4A51-936F-3EAE70C859E9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1" name="Date Placeholder 1">
            <a:extLst>
              <a:ext uri="{FF2B5EF4-FFF2-40B4-BE49-F238E27FC236}">
                <a16:creationId xmlns="" xmlns:a16="http://schemas.microsoft.com/office/drawing/2014/main" id="{708FE4B0-64C3-4CE5-BA1C-A16E65FFBD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4ED018A-B8CB-4DDE-BB8F-4DD83FB5379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95568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139E4134-9E22-49F3-ADD0-D02664D11D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7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139E4134-9E22-49F3-ADD0-D02664D11D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805F3B3F-57AE-40BB-85C9-E9F6E190D0B7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221DD0E-B948-43EE-A9F2-4355C5C34F9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68A5AFDF-A890-42F2-8C32-33B4E10F16D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="" xmlns:a16="http://schemas.microsoft.com/office/drawing/2014/main" id="{F67A0460-6C29-468F-999B-22B9587BB99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360E097C-E616-4AD7-A14A-D11835B1C53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="" xmlns:a16="http://schemas.microsoft.com/office/drawing/2014/main" id="{73899391-ED6D-4B3E-9F79-831CA65DE55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3653198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85CDD192-5677-4375-998D-392BA37395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41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85CDD192-5677-4375-998D-392BA37395D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1C68A47E-7E3E-4946-8E5B-CE6B372BB014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0E97800-D473-453E-8557-0CA265DC35D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C6703353-023E-4DE2-A745-322E0A2AAC6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="" xmlns:a16="http://schemas.microsoft.com/office/drawing/2014/main" id="{782FC036-A722-4348-A327-53C33F7EC2A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07C097EE-6107-437A-93F3-1BF9A2DA55E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06519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="" xmlns:a16="http://schemas.microsoft.com/office/drawing/2014/main" id="{FB1E866F-777D-4CE1-89B7-88E41DC972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5CCCBE-AA52-4E20-80D1-01970D5A1CE9}" type="datetime1">
              <a:rPr lang="en-US" smtClean="0"/>
              <a:t>5/22/2023</a:t>
            </a:fld>
            <a:endParaRPr lang="en-US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="" xmlns:a16="http://schemas.microsoft.com/office/drawing/2014/main" id="{F226E6F2-22CA-4E79-819F-807EFD940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Номер слайда 5">
            <a:extLst>
              <a:ext uri="{FF2B5EF4-FFF2-40B4-BE49-F238E27FC236}">
                <a16:creationId xmlns="" xmlns:a16="http://schemas.microsoft.com/office/drawing/2014/main" id="{DC938E31-85F6-498D-A099-ECBAB7B90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324D3C-8678-4612-8AD9-843ADD87DB0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356940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="" xmlns:a16="http://schemas.microsoft.com/office/drawing/2014/main" id="{A025FB8D-31DE-49D8-839E-BEE8BDC8F1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65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="" xmlns:a16="http://schemas.microsoft.com/office/drawing/2014/main" id="{A025FB8D-31DE-49D8-839E-BEE8BDC8F1C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E865A5FB-BD12-48C1-9AF1-9C8F0DDE8D17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E9F1487-41D9-4367-A977-1F4617EF5E8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AC568245-2BD1-464D-9318-0071E351BF8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="" xmlns:a16="http://schemas.microsoft.com/office/drawing/2014/main" id="{E3182042-538D-458B-B339-D159CF57F0AF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>
            <a:extLst>
              <a:ext uri="{FF2B5EF4-FFF2-40B4-BE49-F238E27FC236}">
                <a16:creationId xmlns="" xmlns:a16="http://schemas.microsoft.com/office/drawing/2014/main" id="{4A4ABD15-E3E4-4013-950B-A453908E1AD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2913793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E9D08367-2580-40B6-951C-C901135BBD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8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E9D08367-2580-40B6-951C-C901135BBD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ED77AE6F-C5F4-4B4A-8575-55514C3FDAE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B5A4C88F-0385-4A1C-8AB1-E84765028739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9DB99354-018B-4FFD-8FDD-67698D1E032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BF4E0DC-0B35-4808-85CA-30C2D4A1179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4299A2C0-2A1B-4EAE-91A3-0DD15269FE6F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="" xmlns:a16="http://schemas.microsoft.com/office/drawing/2014/main" id="{F6E6551B-855F-434B-9B82-E23D614BC79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8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006636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644FAC0E-ABB1-49AF-A945-41DDDE228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49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644FAC0E-ABB1-49AF-A945-41DDDE2283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5934C95C-0073-4B42-846F-F3707E9840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E5E94AC-19D3-4BBE-8AD6-AA51465233F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62027CF-AE72-489D-B04B-242432EBF8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5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462027CF-AE72-489D-B04B-242432EBF89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43B559C4-EE0A-4A1E-B9F6-1FC1650F8504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317E2E62-73CB-4E02-A173-53FDA292762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B6C48EB8-683B-4C89-B630-45466861D98C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="" xmlns:a16="http://schemas.microsoft.com/office/drawing/2014/main" id="{C360185B-3C35-45CD-A609-5A1BA2B4472F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2957249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6946173-D214-46D7-800B-C2F57F3D3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73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16946173-D214-46D7-800B-C2F57F3D322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B0707299-576C-45CF-9D98-97BB5C32E42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8560FA8-3E80-4CF6-BC0D-87BC06678A5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55D258A6-1D51-4003-BBAA-6020C3B8C2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7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55D258A6-1D51-4003-BBAA-6020C3B8C2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489B9F2A-8A2A-4404-BCD2-90DF05B38B6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72338DF2-93B2-42C7-9EF2-3B4BDAE1E6A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ED3A82D7-190A-4144-864E-858D9F939EAF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24354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D2B5E0C8-C88D-42FA-B68D-ED9599162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97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D2B5E0C8-C88D-42FA-B68D-ED95991622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="" xmlns:a16="http://schemas.microsoft.com/office/drawing/2014/main" id="{537C6270-370D-4A79-8FF5-BD6C04606E7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E71E67D-C8F8-48C0-9A4A-115787E77BF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95978417-88BB-4209-9A20-F8398ACF25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9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95978417-88BB-4209-9A20-F8398ACF25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EAE8A448-C866-475C-81FE-BEBAF758621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6" name="Straight Connector 7">
            <a:extLst>
              <a:ext uri="{FF2B5EF4-FFF2-40B4-BE49-F238E27FC236}">
                <a16:creationId xmlns="" xmlns:a16="http://schemas.microsoft.com/office/drawing/2014/main" id="{CEFF2E4A-8EFC-4A7C-9E4E-6AB0BDF878D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>
            <a:extLst>
              <a:ext uri="{FF2B5EF4-FFF2-40B4-BE49-F238E27FC236}">
                <a16:creationId xmlns="" xmlns:a16="http://schemas.microsoft.com/office/drawing/2014/main" id="{799A4999-65F0-4F80-9EFC-E78E25C2017D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1769472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2BA33F89-8D40-49D5-B3BD-7DB2BF77E7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8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2BA33F89-8D40-49D5-B3BD-7DB2BF77E7C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6B30127E-79F8-49E7-A4B4-F1C664342B7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="" xmlns:a16="http://schemas.microsoft.com/office/drawing/2014/main" id="{CCD3A865-B166-4D1E-83AB-E865AE2DA265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3D6009CE-ED94-440F-A3DD-94D8F6EBF3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4B90296-06E7-4C51-AF2A-96C9A6B35C1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62AD2C49-1BAD-4DC6-B0FF-C3DBA6E34B5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="" xmlns:a16="http://schemas.microsoft.com/office/drawing/2014/main" id="{8DD266F0-209E-40B3-973F-43EF403E089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4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52118936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98A2D87-0677-44E3-A981-B0C0E985FB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0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498A2D87-0677-44E3-A981-B0C0E985FB4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="" xmlns:a16="http://schemas.microsoft.com/office/drawing/2014/main" id="{2A656D73-27E1-46D8-AE67-29C5AB822F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="" xmlns:a16="http://schemas.microsoft.com/office/drawing/2014/main" id="{8284F15E-2AA8-4FD9-862F-139A5DA6D14B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A208CD5F-FE7B-4C9E-BFD6-9DB7ECDEC3C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50DE6A3-DA77-4D58-BFEA-15A6A10A345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="" xmlns:a16="http://schemas.microsoft.com/office/drawing/2014/main" id="{C92B05D7-12E0-45B2-8651-65278065624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08CFF329-88F6-472A-A05E-8DF0202DB67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4676048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="" xmlns:a16="http://schemas.microsoft.com/office/drawing/2014/main" id="{9113F9DD-62D0-4C56-9366-BE62C005F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3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="" xmlns:a16="http://schemas.microsoft.com/office/drawing/2014/main" id="{9113F9DD-62D0-4C56-9366-BE62C005F8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age">
            <a:extLst>
              <a:ext uri="{FF2B5EF4-FFF2-40B4-BE49-F238E27FC236}">
                <a16:creationId xmlns="" xmlns:a16="http://schemas.microsoft.com/office/drawing/2014/main" id="{FF3D7E4F-CC33-4731-946D-BAFBB4FEDA9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FC2029A-7567-4111-AB34-B01DE4A1895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55913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="" xmlns:a16="http://schemas.microsoft.com/office/drawing/2014/main" id="{347752FE-CFA6-4091-804E-1519471597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="" xmlns:a16="http://schemas.microsoft.com/office/drawing/2014/main" id="{347752FE-CFA6-4091-804E-1519471597E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="" xmlns:a16="http://schemas.microsoft.com/office/drawing/2014/main" id="{852C9165-187B-4012-908F-35907CEE099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7542E91-6EA9-4509-B3A4-9D4F505FA6B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69315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="" xmlns:a16="http://schemas.microsoft.com/office/drawing/2014/main" id="{BF086593-8AC8-4C9D-9691-6009241645A9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="" xmlns:a16="http://schemas.microsoft.com/office/drawing/2014/main" id="{0F4AD8F3-919B-4C00-A4F8-0643CE46E6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CBFB481A-AD15-4B60-9E91-78195D6A45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="" xmlns:a16="http://schemas.microsoft.com/office/drawing/2014/main" id="{B4356D3D-52DE-4C3E-8D62-7B419CA52D3D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="" xmlns:a16="http://schemas.microsoft.com/office/drawing/2014/main" id="{6B3545D5-D234-4574-AE18-1E6AF76526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="" xmlns:a16="http://schemas.microsoft.com/office/drawing/2014/main" id="{9072CB16-B510-4FFF-A3F9-B133462B83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35605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F9B18848-8608-4BB6-A543-5241D71AA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AC53F5-C1CB-4F8D-A163-8187412257F6}" type="datetime1">
              <a:rPr lang="en-US" smtClean="0"/>
              <a:t>5/22/2023</a:t>
            </a:fld>
            <a:endParaRPr lang="en-US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AD6B041F-F1AD-40E9-B732-1655CA153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9330B02D-6605-4A9F-B8B2-0AC46C5CB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B90F3-C764-4BDD-9EB5-7931278C8A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540731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641650D0-FB4D-4480-BF48-1CBCCD81FD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2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641650D0-FB4D-4480-BF48-1CBCCD81FD0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D1F5B007-66F6-4CD6-87C9-252D634ECA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52AE032-62E7-42D2-89BC-9EB386CCA90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BF19FC27-0F01-4F57-B361-D17D5DCE069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E51A25E2-9624-4A12-A477-ADEF206B84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5EC24FF-B205-4FE6-A40C-1C0A5300BCB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1843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B71969F6-B1CB-491F-AF09-5AED43D75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5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B71969F6-B1CB-491F-AF09-5AED43D75B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0E00B536-CA3D-4C9E-9C2F-D4433E5FCD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248414D-FDDC-4938-B61A-D631B5343D6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ADE518FB-25A4-4F54-815C-A56CDFD30F28}"/>
              </a:ext>
            </a:extLst>
          </p:cNvPr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31C39D1C-A64E-4230-9FCB-9C581988730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CB4F458F-C12C-48AD-AC3D-50844FE1F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F332F14-3763-4AA1-B33F-88C1E0B7249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384559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00F5D094-EA4D-451C-8FC6-AC0B612FF19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73C89FE-1943-4034-B091-94DE3753EA47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Square">
            <a:extLst>
              <a:ext uri="{FF2B5EF4-FFF2-40B4-BE49-F238E27FC236}">
                <a16:creationId xmlns="" xmlns:a16="http://schemas.microsoft.com/office/drawing/2014/main" id="{B0E44228-1EAF-4CF6-B015-D29F5F34495E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98831FA3-F20B-462D-83CA-30BFCD4A66D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2">
            <a:extLst>
              <a:ext uri="{FF2B5EF4-FFF2-40B4-BE49-F238E27FC236}">
                <a16:creationId xmlns="" xmlns:a16="http://schemas.microsoft.com/office/drawing/2014/main" id="{1886FFE7-1619-46EE-85D7-11D6C18DF1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CB9D3BB-0813-4172-AEFD-1C71F061019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274495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904D7597-95C0-4086-89A0-7DC700EE61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D82B347-A6EF-456F-BCED-E411EA9D074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="" xmlns:a16="http://schemas.microsoft.com/office/drawing/2014/main" id="{17452E9C-CB89-4B67-B297-EB705F64561A}"/>
              </a:ext>
            </a:extLst>
          </p:cNvPr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173E808F-AFF0-4621-84DB-9B79591A6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D528DFF-D8EE-4C71-B809-65272873672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575580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DDBEC969-50A9-4214-B565-D1AEA0BA03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6F0D73B6-812C-49AE-8A19-F00DED8107B2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4F009B99-4084-4C54-9268-BE4D08E5159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2D9BF00-1509-416E-A968-FBB59A53737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1FC178D9-BA91-4C60-A321-9F47F02FBB5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792228F5-3AB4-4D27-B6C4-BF51E9BC66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E62B143-1D92-462A-8714-06B8502406E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72777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37BF3EA2-CD96-49D0-86B4-2ACA2BE0D2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39C99824-6EB5-4E92-A471-E62F46B16AAC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7CED5027-9800-4BC0-88AB-23AD61ECD72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231DC1D-736C-4909-8333-A148F4ABCEB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29084344-B618-4936-9796-916619AFD5E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="" xmlns:a16="http://schemas.microsoft.com/office/drawing/2014/main" id="{92D832D4-3C91-443E-BD31-F0549DB92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3A73264-DE1F-42D1-8A48-E02A3F16053F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94296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C052BE2A-BD62-4AA9-9268-35CD5B5C5B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="" xmlns:a16="http://schemas.microsoft.com/office/drawing/2014/main" id="{CEDBC5F6-402B-499A-B946-DD9FE3156A77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D8320778-ED7C-46B0-ADD1-40B59E97AB8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82149F4-25AF-4587-82A1-90A189B3703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D6C568C-C86D-4680-9720-BF3AA840B56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="" xmlns:a16="http://schemas.microsoft.com/office/drawing/2014/main" id="{D3E62BA7-B228-4AA9-A9F6-8341C5858C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4DD6CA9-A684-40E1-9CF4-F1FF56A28D0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0110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428314B2-3022-4FF6-9BDE-0D300711EB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F2D5B169-E36E-4105-AF22-4A990AD6048D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9">
            <a:extLst>
              <a:ext uri="{FF2B5EF4-FFF2-40B4-BE49-F238E27FC236}">
                <a16:creationId xmlns="" xmlns:a16="http://schemas.microsoft.com/office/drawing/2014/main" id="{1E0A2575-66B4-40CD-84E3-1C4B148552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55319A8-8430-4702-BC2B-54278B3AF58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6880E4B0-02F3-43DA-815D-6790392B468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D82BAB22-3AAB-44D2-BDB5-64B800BBFE6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2DF48E1-5637-41D8-98EE-4D16B53AF34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70757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="" xmlns:a16="http://schemas.microsoft.com/office/drawing/2014/main" id="{B75052C7-56B3-40D4-8703-73F2F63CB0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="" xmlns:a16="http://schemas.microsoft.com/office/drawing/2014/main" id="{5F4C0552-55E3-418A-B31F-31A4499D2739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="" xmlns:a16="http://schemas.microsoft.com/office/drawing/2014/main" id="{6D516B55-6EE7-4744-AE55-46596B60E99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613EF2E-B28A-48BD-AA6E-DCC4530C265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="" xmlns:a16="http://schemas.microsoft.com/office/drawing/2014/main" id="{103C6FDB-D35D-493F-8FF9-AD2395046AC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92327FC4-4F6A-44F6-B1B2-3FF80FF08A0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FE8F432-C4E9-4962-80DF-ED863242DD7B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525697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4C8FE455-8E0B-41A0-9901-5534C59DEF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A183A0E4-E925-428A-BA4D-AC215A7651A9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2EE3A298-6C4C-4E20-9F08-60A586446D2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8A13C7F-E63E-4601-A5FF-E05F5D61813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A99E680A-6972-4BBA-9B9A-2D4E5729171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046AD7B7-2CCC-4FDA-AF07-52B847B55F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C9376AD-38B1-4BAC-8C50-632BAD286A6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6587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="" xmlns:a16="http://schemas.microsoft.com/office/drawing/2014/main" id="{E0C0A584-59B5-45E6-9A74-0D90B81780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990535-6ED9-4568-8AB0-23720C1DA769}" type="datetime1">
              <a:rPr lang="en-US" smtClean="0"/>
              <a:t>5/22/2023</a:t>
            </a:fld>
            <a:endParaRPr lang="en-US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="" xmlns:a16="http://schemas.microsoft.com/office/drawing/2014/main" id="{B6ECB66C-6362-4EF8-A625-56150F01C0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5">
            <a:extLst>
              <a:ext uri="{FF2B5EF4-FFF2-40B4-BE49-F238E27FC236}">
                <a16:creationId xmlns="" xmlns:a16="http://schemas.microsoft.com/office/drawing/2014/main" id="{AD3E7536-F853-48E8-868C-200DD6834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DBCA9D-C52C-40FE-A00C-9CEA45ABBEE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907563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83685A42-6F5A-4218-9928-C36231F35BA2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A0AA1BF4-D3B2-457C-9AFC-ED59BA61572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74CAA52-3910-4D65-8630-9A267350232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16A25A17-FDBF-4F7B-816B-B13396948D7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42595F39-7C9C-4439-95E3-812682343B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="" xmlns:a16="http://schemas.microsoft.com/office/drawing/2014/main" id="{255B66F3-DED8-4405-801F-E3CF454324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C68B809-CAD8-457A-86E1-77DED516AF5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627782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B8E7136A-FB09-4A57-96FA-43771A5ABF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2F0AC1FB-1108-434F-AEDA-AB1B70DD50C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5656D4F2-BEDF-426F-823C-2AF5384BCD6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21AFD5F-2D5D-4785-B364-F756363F0E84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C422F4C6-16DF-433B-8FDD-0D3CDD3F46B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4AE3DC8C-3B4B-4653-BD5C-6988C0D99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3BDBB05-F484-47A4-A753-49217739D8C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890677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F3151FA9-A0B4-4F80-A27B-4567819F19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4F626DB6-4B16-44EF-9CFC-4A0124D654E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A5A42E9-865F-4181-9011-DEB2EB9FE14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0DED43CB-3A20-4123-A47A-61C6426F47B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="" xmlns:a16="http://schemas.microsoft.com/office/drawing/2014/main" id="{FFDADD14-0772-4376-A79B-AE1D93E738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34CD1DDD-A3C4-4BEE-8E14-2A47ADC6BB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0CE0F16-1A54-4114-A071-A38DBDA74CF8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17512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EAE85CC7-0BEF-436D-847B-3E5CB4EE38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B8DEA762-3356-48EC-A89D-ACC381FA701E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6BD1E882-F7B3-4B1F-BFFA-B41FC4CD98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D6139C9-20F1-4DE7-9015-31AE6D4838E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D1432E18-AD3B-4DCE-835D-7CE7FEC33D2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="" xmlns:a16="http://schemas.microsoft.com/office/drawing/2014/main" id="{2D338B82-C011-48EA-8728-4FF87B0C5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ACC0EBD-C621-4CEF-9F90-E124FDCE7404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080480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FA3584AB-9F89-4A01-891C-A3C1A827122A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62EC5AA5-B74B-4EB5-AFAF-0E07AE9BB7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F925BD5-87FA-4D74-819C-D587FC30CAB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4E07B2D6-4DFD-481E-A536-48524C1E013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8">
            <a:extLst>
              <a:ext uri="{FF2B5EF4-FFF2-40B4-BE49-F238E27FC236}">
                <a16:creationId xmlns="" xmlns:a16="http://schemas.microsoft.com/office/drawing/2014/main" id="{4C853392-4473-4CEB-A8E3-5A0FC8CA01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7E73D58A-1578-4B5F-ACE3-F9E6839BC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532FB84-F2B5-49DE-AA0A-7440D3FD7667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901797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="" xmlns:a16="http://schemas.microsoft.com/office/drawing/2014/main" id="{7180EA57-11E4-4F5D-B286-A69EA842F4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="" xmlns:a16="http://schemas.microsoft.com/office/drawing/2014/main" id="{5160BA35-BF53-4A31-BC84-D0945CF4647B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E2B18E34-1087-40A2-AFB6-F3F6FED9848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E7417E5-51DF-4A9B-9B02-EB2A1D60395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0CC5DFA0-0B0F-43B0-B83B-EC16281E03A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="" xmlns:a16="http://schemas.microsoft.com/office/drawing/2014/main" id="{EA00FA7D-0AF7-46E6-89CE-7F692EBF10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49A90F8-8CF9-4D3F-AD85-2426429B94D3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632912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="" xmlns:a16="http://schemas.microsoft.com/office/drawing/2014/main" id="{F69E376B-4ED0-4B8A-944C-8FBABF6BCCA0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="" xmlns:a16="http://schemas.microsoft.com/office/drawing/2014/main" id="{EFCDC447-AD47-4A95-AD37-8D1F4D948A6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C00B353-3FAF-4B13-AE72-02BF43FD1BB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="" xmlns:a16="http://schemas.microsoft.com/office/drawing/2014/main" id="{260D918B-D27B-40E6-B278-8F506C4A7D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9">
            <a:extLst>
              <a:ext uri="{FF2B5EF4-FFF2-40B4-BE49-F238E27FC236}">
                <a16:creationId xmlns="" xmlns:a16="http://schemas.microsoft.com/office/drawing/2014/main" id="{764DE988-B908-433B-8F84-DA54DBCA3B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F96AC80A-A1D5-41A1-AAA4-6863CEF5D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2D07582-7F71-470A-9F44-1C8E06CE1A11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94079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="" xmlns:a16="http://schemas.microsoft.com/office/drawing/2014/main" id="{1EB1AC50-553F-4BCA-8D7C-99C8F93BB2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49E43E9-FF00-4CDA-B95E-572888F69EB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="" xmlns:a16="http://schemas.microsoft.com/office/drawing/2014/main" id="{06E527AE-D998-4549-869F-363DF9B8D28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F923B41D-D44C-45EC-95AE-F3E2CD11F0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836293D-FE16-4B94-B596-D11FB20CA22E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54040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="" xmlns:a16="http://schemas.microsoft.com/office/drawing/2014/main" id="{A124119E-D131-4217-A6E3-8AAF9A525B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6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="" xmlns:a16="http://schemas.microsoft.com/office/drawing/2014/main" id="{A124119E-D131-4217-A6E3-8AAF9A525BA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="" xmlns:a16="http://schemas.microsoft.com/office/drawing/2014/main" id="{81B691A6-ED9F-4A18-9B34-248D295F906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1CA222F-D272-4759-8AA4-1448CE2B512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="" xmlns:a16="http://schemas.microsoft.com/office/drawing/2014/main" id="{5D44B74E-923B-4821-A161-A544F7E035F9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="" xmlns:a16="http://schemas.microsoft.com/office/drawing/2014/main" id="{784EF681-314F-40B2-B736-9DFE066F453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="" xmlns:a16="http://schemas.microsoft.com/office/drawing/2014/main" id="{97404CF4-9636-4DA5-B291-BF0520ADD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66077E0-BC5E-4116-BBC5-7DC21D0484D5}" type="datetime1">
              <a:rPr lang="en-US" smtClean="0"/>
              <a:t>5/22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996558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="" xmlns:a16="http://schemas.microsoft.com/office/drawing/2014/main" id="{FE7398F7-BE96-4F61-915A-8DA5AAEF1A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Bubble">
            <a:extLst>
              <a:ext uri="{FF2B5EF4-FFF2-40B4-BE49-F238E27FC236}">
                <a16:creationId xmlns="" xmlns:a16="http://schemas.microsoft.com/office/drawing/2014/main" id="{4605AA26-3186-452F-A857-184E5BC7865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3">
              <a:extLst>
                <a:ext uri="{FF2B5EF4-FFF2-40B4-BE49-F238E27FC236}">
                  <a16:creationId xmlns="" xmlns:a16="http://schemas.microsoft.com/office/drawing/2014/main" id="{6888C7B0-988B-4CFF-85C0-AF2CF6A62F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" name="Right Triangle 55">
              <a:extLst>
                <a:ext uri="{FF2B5EF4-FFF2-40B4-BE49-F238E27FC236}">
                  <a16:creationId xmlns="" xmlns:a16="http://schemas.microsoft.com/office/drawing/2014/main" id="{09691107-F92D-480D-8EF8-C873D9DC1B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" name="Page">
            <a:extLst>
              <a:ext uri="{FF2B5EF4-FFF2-40B4-BE49-F238E27FC236}">
                <a16:creationId xmlns="" xmlns:a16="http://schemas.microsoft.com/office/drawing/2014/main" id="{8E7A6F32-9EBE-4BDE-B777-B2196508A65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FAB6B2F-1E96-4ED5-8244-8F3AB071B67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4078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71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vmlDrawing" Target="../drawings/vmlDrawing2.v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tags" Target="../tags/tag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20.xml"/><Relationship Id="rId47" Type="http://schemas.openxmlformats.org/officeDocument/2006/relationships/slideLayout" Target="../slideLayouts/slideLayout125.xml"/><Relationship Id="rId63" Type="http://schemas.openxmlformats.org/officeDocument/2006/relationships/slideLayout" Target="../slideLayouts/slideLayout141.xml"/><Relationship Id="rId68" Type="http://schemas.openxmlformats.org/officeDocument/2006/relationships/tags" Target="../tags/tag105.xml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slideLayout" Target="../slideLayouts/slideLayout110.xml"/><Relationship Id="rId37" Type="http://schemas.openxmlformats.org/officeDocument/2006/relationships/slideLayout" Target="../slideLayouts/slideLayout115.xml"/><Relationship Id="rId40" Type="http://schemas.openxmlformats.org/officeDocument/2006/relationships/slideLayout" Target="../slideLayouts/slideLayout118.xml"/><Relationship Id="rId45" Type="http://schemas.openxmlformats.org/officeDocument/2006/relationships/slideLayout" Target="../slideLayouts/slideLayout123.xml"/><Relationship Id="rId53" Type="http://schemas.openxmlformats.org/officeDocument/2006/relationships/slideLayout" Target="../slideLayouts/slideLayout131.xml"/><Relationship Id="rId58" Type="http://schemas.openxmlformats.org/officeDocument/2006/relationships/slideLayout" Target="../slideLayouts/slideLayout136.xml"/><Relationship Id="rId66" Type="http://schemas.openxmlformats.org/officeDocument/2006/relationships/theme" Target="../theme/theme3.xml"/><Relationship Id="rId5" Type="http://schemas.openxmlformats.org/officeDocument/2006/relationships/slideLayout" Target="../slideLayouts/slideLayout83.xml"/><Relationship Id="rId61" Type="http://schemas.openxmlformats.org/officeDocument/2006/relationships/slideLayout" Target="../slideLayouts/slideLayout139.xml"/><Relationship Id="rId1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30" Type="http://schemas.openxmlformats.org/officeDocument/2006/relationships/slideLayout" Target="../slideLayouts/slideLayout108.xml"/><Relationship Id="rId35" Type="http://schemas.openxmlformats.org/officeDocument/2006/relationships/slideLayout" Target="../slideLayouts/slideLayout113.xml"/><Relationship Id="rId43" Type="http://schemas.openxmlformats.org/officeDocument/2006/relationships/slideLayout" Target="../slideLayouts/slideLayout121.xml"/><Relationship Id="rId48" Type="http://schemas.openxmlformats.org/officeDocument/2006/relationships/slideLayout" Target="../slideLayouts/slideLayout126.xml"/><Relationship Id="rId56" Type="http://schemas.openxmlformats.org/officeDocument/2006/relationships/slideLayout" Target="../slideLayouts/slideLayout134.xml"/><Relationship Id="rId64" Type="http://schemas.openxmlformats.org/officeDocument/2006/relationships/slideLayout" Target="../slideLayouts/slideLayout142.xml"/><Relationship Id="rId69" Type="http://schemas.openxmlformats.org/officeDocument/2006/relationships/oleObject" Target="../embeddings/oleObject32.bin"/><Relationship Id="rId8" Type="http://schemas.openxmlformats.org/officeDocument/2006/relationships/slideLayout" Target="../slideLayouts/slideLayout86.xml"/><Relationship Id="rId51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33" Type="http://schemas.openxmlformats.org/officeDocument/2006/relationships/slideLayout" Target="../slideLayouts/slideLayout111.xml"/><Relationship Id="rId38" Type="http://schemas.openxmlformats.org/officeDocument/2006/relationships/slideLayout" Target="../slideLayouts/slideLayout116.xml"/><Relationship Id="rId46" Type="http://schemas.openxmlformats.org/officeDocument/2006/relationships/slideLayout" Target="../slideLayouts/slideLayout124.xml"/><Relationship Id="rId59" Type="http://schemas.openxmlformats.org/officeDocument/2006/relationships/slideLayout" Target="../slideLayouts/slideLayout137.xml"/><Relationship Id="rId67" Type="http://schemas.openxmlformats.org/officeDocument/2006/relationships/vmlDrawing" Target="../drawings/vmlDrawing29.vml"/><Relationship Id="rId20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9.xml"/><Relationship Id="rId54" Type="http://schemas.openxmlformats.org/officeDocument/2006/relationships/slideLayout" Target="../slideLayouts/slideLayout132.xml"/><Relationship Id="rId62" Type="http://schemas.openxmlformats.org/officeDocument/2006/relationships/slideLayout" Target="../slideLayouts/slideLayout140.xml"/><Relationship Id="rId70" Type="http://schemas.openxmlformats.org/officeDocument/2006/relationships/image" Target="../media/image2.emf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36" Type="http://schemas.openxmlformats.org/officeDocument/2006/relationships/slideLayout" Target="../slideLayouts/slideLayout114.xml"/><Relationship Id="rId49" Type="http://schemas.openxmlformats.org/officeDocument/2006/relationships/slideLayout" Target="../slideLayouts/slideLayout127.xml"/><Relationship Id="rId57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9.xml"/><Relationship Id="rId44" Type="http://schemas.openxmlformats.org/officeDocument/2006/relationships/slideLayout" Target="../slideLayouts/slideLayout122.xml"/><Relationship Id="rId52" Type="http://schemas.openxmlformats.org/officeDocument/2006/relationships/slideLayout" Target="../slideLayouts/slideLayout130.xml"/><Relationship Id="rId60" Type="http://schemas.openxmlformats.org/officeDocument/2006/relationships/slideLayout" Target="../slideLayouts/slideLayout138.xml"/><Relationship Id="rId65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39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12.xml"/><Relationship Id="rId50" Type="http://schemas.openxmlformats.org/officeDocument/2006/relationships/slideLayout" Target="../slideLayouts/slideLayout128.xml"/><Relationship Id="rId55" Type="http://schemas.openxmlformats.org/officeDocument/2006/relationships/slideLayout" Target="../slideLayouts/slideLayout133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9.xml"/><Relationship Id="rId21" Type="http://schemas.openxmlformats.org/officeDocument/2006/relationships/slideLayout" Target="../slideLayouts/slideLayout164.xml"/><Relationship Id="rId42" Type="http://schemas.openxmlformats.org/officeDocument/2006/relationships/slideLayout" Target="../slideLayouts/slideLayout185.xml"/><Relationship Id="rId47" Type="http://schemas.openxmlformats.org/officeDocument/2006/relationships/slideLayout" Target="../slideLayouts/slideLayout190.xml"/><Relationship Id="rId63" Type="http://schemas.openxmlformats.org/officeDocument/2006/relationships/slideLayout" Target="../slideLayouts/slideLayout206.xml"/><Relationship Id="rId68" Type="http://schemas.openxmlformats.org/officeDocument/2006/relationships/tags" Target="../tags/tag204.xml"/><Relationship Id="rId7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9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54.xml"/><Relationship Id="rId24" Type="http://schemas.openxmlformats.org/officeDocument/2006/relationships/slideLayout" Target="../slideLayouts/slideLayout167.xml"/><Relationship Id="rId32" Type="http://schemas.openxmlformats.org/officeDocument/2006/relationships/slideLayout" Target="../slideLayouts/slideLayout175.xml"/><Relationship Id="rId37" Type="http://schemas.openxmlformats.org/officeDocument/2006/relationships/slideLayout" Target="../slideLayouts/slideLayout180.xml"/><Relationship Id="rId40" Type="http://schemas.openxmlformats.org/officeDocument/2006/relationships/slideLayout" Target="../slideLayouts/slideLayout183.xml"/><Relationship Id="rId45" Type="http://schemas.openxmlformats.org/officeDocument/2006/relationships/slideLayout" Target="../slideLayouts/slideLayout188.xml"/><Relationship Id="rId53" Type="http://schemas.openxmlformats.org/officeDocument/2006/relationships/slideLayout" Target="../slideLayouts/slideLayout196.xml"/><Relationship Id="rId58" Type="http://schemas.openxmlformats.org/officeDocument/2006/relationships/slideLayout" Target="../slideLayouts/slideLayout201.xml"/><Relationship Id="rId66" Type="http://schemas.openxmlformats.org/officeDocument/2006/relationships/theme" Target="../theme/theme4.xml"/><Relationship Id="rId5" Type="http://schemas.openxmlformats.org/officeDocument/2006/relationships/slideLayout" Target="../slideLayouts/slideLayout148.xml"/><Relationship Id="rId61" Type="http://schemas.openxmlformats.org/officeDocument/2006/relationships/slideLayout" Target="../slideLayouts/slideLayout204.xml"/><Relationship Id="rId1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57.xml"/><Relationship Id="rId22" Type="http://schemas.openxmlformats.org/officeDocument/2006/relationships/slideLayout" Target="../slideLayouts/slideLayout165.xml"/><Relationship Id="rId27" Type="http://schemas.openxmlformats.org/officeDocument/2006/relationships/slideLayout" Target="../slideLayouts/slideLayout170.xml"/><Relationship Id="rId30" Type="http://schemas.openxmlformats.org/officeDocument/2006/relationships/slideLayout" Target="../slideLayouts/slideLayout173.xml"/><Relationship Id="rId35" Type="http://schemas.openxmlformats.org/officeDocument/2006/relationships/slideLayout" Target="../slideLayouts/slideLayout178.xml"/><Relationship Id="rId43" Type="http://schemas.openxmlformats.org/officeDocument/2006/relationships/slideLayout" Target="../slideLayouts/slideLayout186.xml"/><Relationship Id="rId48" Type="http://schemas.openxmlformats.org/officeDocument/2006/relationships/slideLayout" Target="../slideLayouts/slideLayout191.xml"/><Relationship Id="rId56" Type="http://schemas.openxmlformats.org/officeDocument/2006/relationships/slideLayout" Target="../slideLayouts/slideLayout199.xml"/><Relationship Id="rId64" Type="http://schemas.openxmlformats.org/officeDocument/2006/relationships/slideLayout" Target="../slideLayouts/slideLayout207.xml"/><Relationship Id="rId69" Type="http://schemas.openxmlformats.org/officeDocument/2006/relationships/oleObject" Target="../embeddings/oleObject60.bin"/><Relationship Id="rId8" Type="http://schemas.openxmlformats.org/officeDocument/2006/relationships/slideLayout" Target="../slideLayouts/slideLayout151.xml"/><Relationship Id="rId51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5" Type="http://schemas.openxmlformats.org/officeDocument/2006/relationships/slideLayout" Target="../slideLayouts/slideLayout168.xml"/><Relationship Id="rId33" Type="http://schemas.openxmlformats.org/officeDocument/2006/relationships/slideLayout" Target="../slideLayouts/slideLayout176.xml"/><Relationship Id="rId38" Type="http://schemas.openxmlformats.org/officeDocument/2006/relationships/slideLayout" Target="../slideLayouts/slideLayout181.xml"/><Relationship Id="rId46" Type="http://schemas.openxmlformats.org/officeDocument/2006/relationships/slideLayout" Target="../slideLayouts/slideLayout189.xml"/><Relationship Id="rId59" Type="http://schemas.openxmlformats.org/officeDocument/2006/relationships/slideLayout" Target="../slideLayouts/slideLayout202.xml"/><Relationship Id="rId67" Type="http://schemas.openxmlformats.org/officeDocument/2006/relationships/vmlDrawing" Target="../drawings/vmlDrawing54.vml"/><Relationship Id="rId20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84.xml"/><Relationship Id="rId54" Type="http://schemas.openxmlformats.org/officeDocument/2006/relationships/slideLayout" Target="../slideLayouts/slideLayout197.xml"/><Relationship Id="rId62" Type="http://schemas.openxmlformats.org/officeDocument/2006/relationships/slideLayout" Target="../slideLayouts/slideLayout205.xml"/><Relationship Id="rId70" Type="http://schemas.openxmlformats.org/officeDocument/2006/relationships/image" Target="../media/image2.emf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8.xml"/><Relationship Id="rId23" Type="http://schemas.openxmlformats.org/officeDocument/2006/relationships/slideLayout" Target="../slideLayouts/slideLayout166.xml"/><Relationship Id="rId28" Type="http://schemas.openxmlformats.org/officeDocument/2006/relationships/slideLayout" Target="../slideLayouts/slideLayout171.xml"/><Relationship Id="rId36" Type="http://schemas.openxmlformats.org/officeDocument/2006/relationships/slideLayout" Target="../slideLayouts/slideLayout179.xml"/><Relationship Id="rId49" Type="http://schemas.openxmlformats.org/officeDocument/2006/relationships/slideLayout" Target="../slideLayouts/slideLayout192.xml"/><Relationship Id="rId57" Type="http://schemas.openxmlformats.org/officeDocument/2006/relationships/slideLayout" Target="../slideLayouts/slideLayout200.xml"/><Relationship Id="rId10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74.xml"/><Relationship Id="rId44" Type="http://schemas.openxmlformats.org/officeDocument/2006/relationships/slideLayout" Target="../slideLayouts/slideLayout187.xml"/><Relationship Id="rId52" Type="http://schemas.openxmlformats.org/officeDocument/2006/relationships/slideLayout" Target="../slideLayouts/slideLayout195.xml"/><Relationship Id="rId60" Type="http://schemas.openxmlformats.org/officeDocument/2006/relationships/slideLayout" Target="../slideLayouts/slideLayout203.xml"/><Relationship Id="rId65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61.xml"/><Relationship Id="rId39" Type="http://schemas.openxmlformats.org/officeDocument/2006/relationships/slideLayout" Target="../slideLayouts/slideLayout182.xml"/><Relationship Id="rId34" Type="http://schemas.openxmlformats.org/officeDocument/2006/relationships/slideLayout" Target="../slideLayouts/slideLayout177.xml"/><Relationship Id="rId50" Type="http://schemas.openxmlformats.org/officeDocument/2006/relationships/slideLayout" Target="../slideLayouts/slideLayout193.xml"/><Relationship Id="rId55" Type="http://schemas.openxmlformats.org/officeDocument/2006/relationships/slideLayout" Target="../slideLayouts/slideLayout198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34.xml"/><Relationship Id="rId21" Type="http://schemas.openxmlformats.org/officeDocument/2006/relationships/slideLayout" Target="../slideLayouts/slideLayout229.xml"/><Relationship Id="rId42" Type="http://schemas.openxmlformats.org/officeDocument/2006/relationships/slideLayout" Target="../slideLayouts/slideLayout250.xml"/><Relationship Id="rId47" Type="http://schemas.openxmlformats.org/officeDocument/2006/relationships/slideLayout" Target="../slideLayouts/slideLayout255.xml"/><Relationship Id="rId63" Type="http://schemas.openxmlformats.org/officeDocument/2006/relationships/slideLayout" Target="../slideLayouts/slideLayout271.xml"/><Relationship Id="rId68" Type="http://schemas.openxmlformats.org/officeDocument/2006/relationships/vmlDrawing" Target="../drawings/vmlDrawing79.vml"/><Relationship Id="rId7" Type="http://schemas.openxmlformats.org/officeDocument/2006/relationships/slideLayout" Target="../slideLayouts/slideLayout215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9" Type="http://schemas.openxmlformats.org/officeDocument/2006/relationships/slideLayout" Target="../slideLayouts/slideLayout237.xml"/><Relationship Id="rId11" Type="http://schemas.openxmlformats.org/officeDocument/2006/relationships/slideLayout" Target="../slideLayouts/slideLayout219.xml"/><Relationship Id="rId24" Type="http://schemas.openxmlformats.org/officeDocument/2006/relationships/slideLayout" Target="../slideLayouts/slideLayout232.xml"/><Relationship Id="rId32" Type="http://schemas.openxmlformats.org/officeDocument/2006/relationships/slideLayout" Target="../slideLayouts/slideLayout240.xml"/><Relationship Id="rId37" Type="http://schemas.openxmlformats.org/officeDocument/2006/relationships/slideLayout" Target="../slideLayouts/slideLayout245.xml"/><Relationship Id="rId40" Type="http://schemas.openxmlformats.org/officeDocument/2006/relationships/slideLayout" Target="../slideLayouts/slideLayout248.xml"/><Relationship Id="rId45" Type="http://schemas.openxmlformats.org/officeDocument/2006/relationships/slideLayout" Target="../slideLayouts/slideLayout253.xml"/><Relationship Id="rId53" Type="http://schemas.openxmlformats.org/officeDocument/2006/relationships/slideLayout" Target="../slideLayouts/slideLayout261.xml"/><Relationship Id="rId58" Type="http://schemas.openxmlformats.org/officeDocument/2006/relationships/slideLayout" Target="../slideLayouts/slideLayout266.xml"/><Relationship Id="rId66" Type="http://schemas.openxmlformats.org/officeDocument/2006/relationships/slideLayout" Target="../slideLayouts/slideLayout274.xml"/><Relationship Id="rId5" Type="http://schemas.openxmlformats.org/officeDocument/2006/relationships/slideLayout" Target="../slideLayouts/slideLayout213.xml"/><Relationship Id="rId61" Type="http://schemas.openxmlformats.org/officeDocument/2006/relationships/slideLayout" Target="../slideLayouts/slideLayout269.xml"/><Relationship Id="rId19" Type="http://schemas.openxmlformats.org/officeDocument/2006/relationships/slideLayout" Target="../slideLayouts/slideLayout227.xml"/><Relationship Id="rId14" Type="http://schemas.openxmlformats.org/officeDocument/2006/relationships/slideLayout" Target="../slideLayouts/slideLayout222.xml"/><Relationship Id="rId22" Type="http://schemas.openxmlformats.org/officeDocument/2006/relationships/slideLayout" Target="../slideLayouts/slideLayout230.xml"/><Relationship Id="rId27" Type="http://schemas.openxmlformats.org/officeDocument/2006/relationships/slideLayout" Target="../slideLayouts/slideLayout235.xml"/><Relationship Id="rId30" Type="http://schemas.openxmlformats.org/officeDocument/2006/relationships/slideLayout" Target="../slideLayouts/slideLayout238.xml"/><Relationship Id="rId35" Type="http://schemas.openxmlformats.org/officeDocument/2006/relationships/slideLayout" Target="../slideLayouts/slideLayout243.xml"/><Relationship Id="rId43" Type="http://schemas.openxmlformats.org/officeDocument/2006/relationships/slideLayout" Target="../slideLayouts/slideLayout251.xml"/><Relationship Id="rId48" Type="http://schemas.openxmlformats.org/officeDocument/2006/relationships/slideLayout" Target="../slideLayouts/slideLayout256.xml"/><Relationship Id="rId56" Type="http://schemas.openxmlformats.org/officeDocument/2006/relationships/slideLayout" Target="../slideLayouts/slideLayout264.xml"/><Relationship Id="rId64" Type="http://schemas.openxmlformats.org/officeDocument/2006/relationships/slideLayout" Target="../slideLayouts/slideLayout272.xml"/><Relationship Id="rId69" Type="http://schemas.openxmlformats.org/officeDocument/2006/relationships/tags" Target="../tags/tag303.xml"/><Relationship Id="rId8" Type="http://schemas.openxmlformats.org/officeDocument/2006/relationships/slideLayout" Target="../slideLayouts/slideLayout216.xml"/><Relationship Id="rId51" Type="http://schemas.openxmlformats.org/officeDocument/2006/relationships/slideLayout" Target="../slideLayouts/slideLayout259.xml"/><Relationship Id="rId3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slideLayout" Target="../slideLayouts/slideLayout233.xml"/><Relationship Id="rId33" Type="http://schemas.openxmlformats.org/officeDocument/2006/relationships/slideLayout" Target="../slideLayouts/slideLayout241.xml"/><Relationship Id="rId38" Type="http://schemas.openxmlformats.org/officeDocument/2006/relationships/slideLayout" Target="../slideLayouts/slideLayout246.xml"/><Relationship Id="rId46" Type="http://schemas.openxmlformats.org/officeDocument/2006/relationships/slideLayout" Target="../slideLayouts/slideLayout254.xml"/><Relationship Id="rId59" Type="http://schemas.openxmlformats.org/officeDocument/2006/relationships/slideLayout" Target="../slideLayouts/slideLayout267.xml"/><Relationship Id="rId67" Type="http://schemas.openxmlformats.org/officeDocument/2006/relationships/theme" Target="../theme/theme5.xml"/><Relationship Id="rId20" Type="http://schemas.openxmlformats.org/officeDocument/2006/relationships/slideLayout" Target="../slideLayouts/slideLayout228.xml"/><Relationship Id="rId41" Type="http://schemas.openxmlformats.org/officeDocument/2006/relationships/slideLayout" Target="../slideLayouts/slideLayout249.xml"/><Relationship Id="rId54" Type="http://schemas.openxmlformats.org/officeDocument/2006/relationships/slideLayout" Target="../slideLayouts/slideLayout262.xml"/><Relationship Id="rId62" Type="http://schemas.openxmlformats.org/officeDocument/2006/relationships/slideLayout" Target="../slideLayouts/slideLayout270.xml"/><Relationship Id="rId70" Type="http://schemas.openxmlformats.org/officeDocument/2006/relationships/oleObject" Target="../embeddings/oleObject88.bin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5" Type="http://schemas.openxmlformats.org/officeDocument/2006/relationships/slideLayout" Target="../slideLayouts/slideLayout223.xml"/><Relationship Id="rId23" Type="http://schemas.openxmlformats.org/officeDocument/2006/relationships/slideLayout" Target="../slideLayouts/slideLayout231.xml"/><Relationship Id="rId28" Type="http://schemas.openxmlformats.org/officeDocument/2006/relationships/slideLayout" Target="../slideLayouts/slideLayout236.xml"/><Relationship Id="rId36" Type="http://schemas.openxmlformats.org/officeDocument/2006/relationships/slideLayout" Target="../slideLayouts/slideLayout244.xml"/><Relationship Id="rId49" Type="http://schemas.openxmlformats.org/officeDocument/2006/relationships/slideLayout" Target="../slideLayouts/slideLayout257.xml"/><Relationship Id="rId57" Type="http://schemas.openxmlformats.org/officeDocument/2006/relationships/slideLayout" Target="../slideLayouts/slideLayout265.xml"/><Relationship Id="rId10" Type="http://schemas.openxmlformats.org/officeDocument/2006/relationships/slideLayout" Target="../slideLayouts/slideLayout218.xml"/><Relationship Id="rId31" Type="http://schemas.openxmlformats.org/officeDocument/2006/relationships/slideLayout" Target="../slideLayouts/slideLayout239.xml"/><Relationship Id="rId44" Type="http://schemas.openxmlformats.org/officeDocument/2006/relationships/slideLayout" Target="../slideLayouts/slideLayout252.xml"/><Relationship Id="rId52" Type="http://schemas.openxmlformats.org/officeDocument/2006/relationships/slideLayout" Target="../slideLayouts/slideLayout260.xml"/><Relationship Id="rId60" Type="http://schemas.openxmlformats.org/officeDocument/2006/relationships/slideLayout" Target="../slideLayouts/slideLayout268.xml"/><Relationship Id="rId65" Type="http://schemas.openxmlformats.org/officeDocument/2006/relationships/slideLayout" Target="../slideLayouts/slideLayout273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9" Type="http://schemas.openxmlformats.org/officeDocument/2006/relationships/slideLayout" Target="../slideLayouts/slideLayout247.xml"/><Relationship Id="rId34" Type="http://schemas.openxmlformats.org/officeDocument/2006/relationships/slideLayout" Target="../slideLayouts/slideLayout242.xml"/><Relationship Id="rId50" Type="http://schemas.openxmlformats.org/officeDocument/2006/relationships/slideLayout" Target="../slideLayouts/slideLayout258.xml"/><Relationship Id="rId55" Type="http://schemas.openxmlformats.org/officeDocument/2006/relationships/slideLayout" Target="../slideLayouts/slideLayout263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00.xml"/><Relationship Id="rId21" Type="http://schemas.openxmlformats.org/officeDocument/2006/relationships/slideLayout" Target="../slideLayouts/slideLayout295.xml"/><Relationship Id="rId42" Type="http://schemas.openxmlformats.org/officeDocument/2006/relationships/slideLayout" Target="../slideLayouts/slideLayout316.xml"/><Relationship Id="rId47" Type="http://schemas.openxmlformats.org/officeDocument/2006/relationships/slideLayout" Target="../slideLayouts/slideLayout321.xml"/><Relationship Id="rId63" Type="http://schemas.openxmlformats.org/officeDocument/2006/relationships/slideLayout" Target="../slideLayouts/slideLayout337.xml"/><Relationship Id="rId68" Type="http://schemas.openxmlformats.org/officeDocument/2006/relationships/vmlDrawing" Target="../drawings/vmlDrawing105.vml"/><Relationship Id="rId7" Type="http://schemas.openxmlformats.org/officeDocument/2006/relationships/slideLayout" Target="../slideLayouts/slideLayout281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276.xml"/><Relationship Id="rId16" Type="http://schemas.openxmlformats.org/officeDocument/2006/relationships/slideLayout" Target="../slideLayouts/slideLayout290.xml"/><Relationship Id="rId29" Type="http://schemas.openxmlformats.org/officeDocument/2006/relationships/slideLayout" Target="../slideLayouts/slideLayout303.xml"/><Relationship Id="rId11" Type="http://schemas.openxmlformats.org/officeDocument/2006/relationships/slideLayout" Target="../slideLayouts/slideLayout285.xml"/><Relationship Id="rId24" Type="http://schemas.openxmlformats.org/officeDocument/2006/relationships/slideLayout" Target="../slideLayouts/slideLayout298.xml"/><Relationship Id="rId32" Type="http://schemas.openxmlformats.org/officeDocument/2006/relationships/slideLayout" Target="../slideLayouts/slideLayout306.xml"/><Relationship Id="rId37" Type="http://schemas.openxmlformats.org/officeDocument/2006/relationships/slideLayout" Target="../slideLayouts/slideLayout311.xml"/><Relationship Id="rId40" Type="http://schemas.openxmlformats.org/officeDocument/2006/relationships/slideLayout" Target="../slideLayouts/slideLayout314.xml"/><Relationship Id="rId45" Type="http://schemas.openxmlformats.org/officeDocument/2006/relationships/slideLayout" Target="../slideLayouts/slideLayout319.xml"/><Relationship Id="rId53" Type="http://schemas.openxmlformats.org/officeDocument/2006/relationships/slideLayout" Target="../slideLayouts/slideLayout327.xml"/><Relationship Id="rId58" Type="http://schemas.openxmlformats.org/officeDocument/2006/relationships/slideLayout" Target="../slideLayouts/slideLayout332.xml"/><Relationship Id="rId66" Type="http://schemas.openxmlformats.org/officeDocument/2006/relationships/slideLayout" Target="../slideLayouts/slideLayout340.xml"/><Relationship Id="rId5" Type="http://schemas.openxmlformats.org/officeDocument/2006/relationships/slideLayout" Target="../slideLayouts/slideLayout279.xml"/><Relationship Id="rId61" Type="http://schemas.openxmlformats.org/officeDocument/2006/relationships/slideLayout" Target="../slideLayouts/slideLayout335.xml"/><Relationship Id="rId19" Type="http://schemas.openxmlformats.org/officeDocument/2006/relationships/slideLayout" Target="../slideLayouts/slideLayout293.xml"/><Relationship Id="rId14" Type="http://schemas.openxmlformats.org/officeDocument/2006/relationships/slideLayout" Target="../slideLayouts/slideLayout288.xml"/><Relationship Id="rId22" Type="http://schemas.openxmlformats.org/officeDocument/2006/relationships/slideLayout" Target="../slideLayouts/slideLayout296.xml"/><Relationship Id="rId27" Type="http://schemas.openxmlformats.org/officeDocument/2006/relationships/slideLayout" Target="../slideLayouts/slideLayout301.xml"/><Relationship Id="rId30" Type="http://schemas.openxmlformats.org/officeDocument/2006/relationships/slideLayout" Target="../slideLayouts/slideLayout304.xml"/><Relationship Id="rId35" Type="http://schemas.openxmlformats.org/officeDocument/2006/relationships/slideLayout" Target="../slideLayouts/slideLayout309.xml"/><Relationship Id="rId43" Type="http://schemas.openxmlformats.org/officeDocument/2006/relationships/slideLayout" Target="../slideLayouts/slideLayout317.xml"/><Relationship Id="rId48" Type="http://schemas.openxmlformats.org/officeDocument/2006/relationships/slideLayout" Target="../slideLayouts/slideLayout322.xml"/><Relationship Id="rId56" Type="http://schemas.openxmlformats.org/officeDocument/2006/relationships/slideLayout" Target="../slideLayouts/slideLayout330.xml"/><Relationship Id="rId64" Type="http://schemas.openxmlformats.org/officeDocument/2006/relationships/slideLayout" Target="../slideLayouts/slideLayout338.xml"/><Relationship Id="rId69" Type="http://schemas.openxmlformats.org/officeDocument/2006/relationships/tags" Target="../tags/tag403.xml"/><Relationship Id="rId8" Type="http://schemas.openxmlformats.org/officeDocument/2006/relationships/slideLayout" Target="../slideLayouts/slideLayout282.xml"/><Relationship Id="rId51" Type="http://schemas.openxmlformats.org/officeDocument/2006/relationships/slideLayout" Target="../slideLayouts/slideLayout325.xml"/><Relationship Id="rId3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6.xml"/><Relationship Id="rId17" Type="http://schemas.openxmlformats.org/officeDocument/2006/relationships/slideLayout" Target="../slideLayouts/slideLayout291.xml"/><Relationship Id="rId25" Type="http://schemas.openxmlformats.org/officeDocument/2006/relationships/slideLayout" Target="../slideLayouts/slideLayout299.xml"/><Relationship Id="rId33" Type="http://schemas.openxmlformats.org/officeDocument/2006/relationships/slideLayout" Target="../slideLayouts/slideLayout307.xml"/><Relationship Id="rId38" Type="http://schemas.openxmlformats.org/officeDocument/2006/relationships/slideLayout" Target="../slideLayouts/slideLayout312.xml"/><Relationship Id="rId46" Type="http://schemas.openxmlformats.org/officeDocument/2006/relationships/slideLayout" Target="../slideLayouts/slideLayout320.xml"/><Relationship Id="rId59" Type="http://schemas.openxmlformats.org/officeDocument/2006/relationships/slideLayout" Target="../slideLayouts/slideLayout333.xml"/><Relationship Id="rId67" Type="http://schemas.openxmlformats.org/officeDocument/2006/relationships/theme" Target="../theme/theme6.xml"/><Relationship Id="rId20" Type="http://schemas.openxmlformats.org/officeDocument/2006/relationships/slideLayout" Target="../slideLayouts/slideLayout294.xml"/><Relationship Id="rId41" Type="http://schemas.openxmlformats.org/officeDocument/2006/relationships/slideLayout" Target="../slideLayouts/slideLayout315.xml"/><Relationship Id="rId54" Type="http://schemas.openxmlformats.org/officeDocument/2006/relationships/slideLayout" Target="../slideLayouts/slideLayout328.xml"/><Relationship Id="rId62" Type="http://schemas.openxmlformats.org/officeDocument/2006/relationships/slideLayout" Target="../slideLayouts/slideLayout336.xml"/><Relationship Id="rId70" Type="http://schemas.openxmlformats.org/officeDocument/2006/relationships/oleObject" Target="../embeddings/oleObject117.bin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Relationship Id="rId15" Type="http://schemas.openxmlformats.org/officeDocument/2006/relationships/slideLayout" Target="../slideLayouts/slideLayout289.xml"/><Relationship Id="rId23" Type="http://schemas.openxmlformats.org/officeDocument/2006/relationships/slideLayout" Target="../slideLayouts/slideLayout297.xml"/><Relationship Id="rId28" Type="http://schemas.openxmlformats.org/officeDocument/2006/relationships/slideLayout" Target="../slideLayouts/slideLayout302.xml"/><Relationship Id="rId36" Type="http://schemas.openxmlformats.org/officeDocument/2006/relationships/slideLayout" Target="../slideLayouts/slideLayout310.xml"/><Relationship Id="rId49" Type="http://schemas.openxmlformats.org/officeDocument/2006/relationships/slideLayout" Target="../slideLayouts/slideLayout323.xml"/><Relationship Id="rId57" Type="http://schemas.openxmlformats.org/officeDocument/2006/relationships/slideLayout" Target="../slideLayouts/slideLayout331.xml"/><Relationship Id="rId10" Type="http://schemas.openxmlformats.org/officeDocument/2006/relationships/slideLayout" Target="../slideLayouts/slideLayout284.xml"/><Relationship Id="rId31" Type="http://schemas.openxmlformats.org/officeDocument/2006/relationships/slideLayout" Target="../slideLayouts/slideLayout305.xml"/><Relationship Id="rId44" Type="http://schemas.openxmlformats.org/officeDocument/2006/relationships/slideLayout" Target="../slideLayouts/slideLayout318.xml"/><Relationship Id="rId52" Type="http://schemas.openxmlformats.org/officeDocument/2006/relationships/slideLayout" Target="../slideLayouts/slideLayout326.xml"/><Relationship Id="rId60" Type="http://schemas.openxmlformats.org/officeDocument/2006/relationships/slideLayout" Target="../slideLayouts/slideLayout334.xml"/><Relationship Id="rId65" Type="http://schemas.openxmlformats.org/officeDocument/2006/relationships/slideLayout" Target="../slideLayouts/slideLayout339.xml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13" Type="http://schemas.openxmlformats.org/officeDocument/2006/relationships/slideLayout" Target="../slideLayouts/slideLayout287.xml"/><Relationship Id="rId18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13.xml"/><Relationship Id="rId34" Type="http://schemas.openxmlformats.org/officeDocument/2006/relationships/slideLayout" Target="../slideLayouts/slideLayout308.xml"/><Relationship Id="rId50" Type="http://schemas.openxmlformats.org/officeDocument/2006/relationships/slideLayout" Target="../slideLayouts/slideLayout324.xml"/><Relationship Id="rId55" Type="http://schemas.openxmlformats.org/officeDocument/2006/relationships/slideLayout" Target="../slideLayouts/slideLayout32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8.xml"/><Relationship Id="rId13" Type="http://schemas.openxmlformats.org/officeDocument/2006/relationships/vmlDrawing" Target="../drawings/vmlDrawing131.vml"/><Relationship Id="rId3" Type="http://schemas.openxmlformats.org/officeDocument/2006/relationships/slideLayout" Target="../slideLayouts/slideLayout343.xml"/><Relationship Id="rId7" Type="http://schemas.openxmlformats.org/officeDocument/2006/relationships/slideLayout" Target="../slideLayouts/slideLayout347.xml"/><Relationship Id="rId12" Type="http://schemas.openxmlformats.org/officeDocument/2006/relationships/theme" Target="../theme/theme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42.xml"/><Relationship Id="rId16" Type="http://schemas.openxmlformats.org/officeDocument/2006/relationships/oleObject" Target="../embeddings/oleObject146.bin"/><Relationship Id="rId1" Type="http://schemas.openxmlformats.org/officeDocument/2006/relationships/slideLayout" Target="../slideLayouts/slideLayout341.xml"/><Relationship Id="rId6" Type="http://schemas.openxmlformats.org/officeDocument/2006/relationships/slideLayout" Target="../slideLayouts/slideLayout346.xml"/><Relationship Id="rId11" Type="http://schemas.openxmlformats.org/officeDocument/2006/relationships/slideLayout" Target="../slideLayouts/slideLayout351.xml"/><Relationship Id="rId5" Type="http://schemas.openxmlformats.org/officeDocument/2006/relationships/slideLayout" Target="../slideLayouts/slideLayout345.xml"/><Relationship Id="rId15" Type="http://schemas.openxmlformats.org/officeDocument/2006/relationships/tags" Target="../tags/tag504.xml"/><Relationship Id="rId10" Type="http://schemas.openxmlformats.org/officeDocument/2006/relationships/slideLayout" Target="../slideLayouts/slideLayout350.xml"/><Relationship Id="rId4" Type="http://schemas.openxmlformats.org/officeDocument/2006/relationships/slideLayout" Target="../slideLayouts/slideLayout344.xml"/><Relationship Id="rId9" Type="http://schemas.openxmlformats.org/officeDocument/2006/relationships/slideLayout" Target="../slideLayouts/slideLayout349.xml"/><Relationship Id="rId14" Type="http://schemas.openxmlformats.org/officeDocument/2006/relationships/tags" Target="../tags/tag50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2" hidden="1">
            <a:extLst>
              <a:ext uri="{FF2B5EF4-FFF2-40B4-BE49-F238E27FC236}">
                <a16:creationId xmlns="" xmlns:a16="http://schemas.microsoft.com/office/drawing/2014/main" id="{B20BAC12-1BE5-495D-A083-17BB8EE34666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" name="Слайд think-cell" r:id="rId16" imgW="383" imgH="384" progId="TCLayout.ActiveDocument.1">
                  <p:embed/>
                </p:oleObj>
              </mc:Choice>
              <mc:Fallback>
                <p:oleObj name="Слайд think-cell" r:id="rId16" imgW="383" imgH="384" progId="TCLayout.ActiveDocument.1">
                  <p:embed/>
                  <p:pic>
                    <p:nvPicPr>
                      <p:cNvPr id="1026" name="Объект 2" hidden="1">
                        <a:extLst>
                          <a:ext uri="{FF2B5EF4-FFF2-40B4-BE49-F238E27FC236}">
                            <a16:creationId xmlns="" xmlns:a16="http://schemas.microsoft.com/office/drawing/2014/main" id="{B20BAC12-1BE5-495D-A083-17BB8EE3466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A1C768F2-655D-4273-A50C-B99C8E7B231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28" name="Заголовок 1">
            <a:extLst>
              <a:ext uri="{FF2B5EF4-FFF2-40B4-BE49-F238E27FC236}">
                <a16:creationId xmlns="" xmlns:a16="http://schemas.microsoft.com/office/drawing/2014/main" id="{799604AB-CC9A-4D5A-B733-A37BE914892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9" name="Текст 2">
            <a:extLst>
              <a:ext uri="{FF2B5EF4-FFF2-40B4-BE49-F238E27FC236}">
                <a16:creationId xmlns="" xmlns:a16="http://schemas.microsoft.com/office/drawing/2014/main" id="{52F8D45E-116D-4625-8A14-E1EC2F457B0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98E6049-5D9A-4D94-8B54-745A664A32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7FB44A9-17E7-423A-9656-EBCB8C1EB896}" type="datetime1">
              <a:rPr lang="en-US" smtClean="0"/>
              <a:t>5/22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4B75052-2D82-4864-A854-136C1172FD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9E77648-8EC2-4C14-B12E-94D6003D0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987CCDEC-BE5A-477B-8547-9F9DA2A7310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Номер слайда 5">
            <a:extLst>
              <a:ext uri="{FF2B5EF4-FFF2-40B4-BE49-F238E27FC236}">
                <a16:creationId xmlns="" xmlns:a16="http://schemas.microsoft.com/office/drawing/2014/main" id="{C37E21AF-9E98-4E23-B88B-7E7ADC74F9C5}"/>
              </a:ext>
            </a:extLst>
          </p:cNvPr>
          <p:cNvSpPr txBox="1">
            <a:spLocks/>
          </p:cNvSpPr>
          <p:nvPr/>
        </p:nvSpPr>
        <p:spPr>
          <a:xfrm>
            <a:off x="9448800" y="6592888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B027290-454C-46FC-B5E5-3F61FABBB863}" type="slidenum">
              <a:rPr lang="en-US" altLang="en-US" sz="105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5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3796" r:id="rId1"/>
    <p:sldLayoutId id="2147503797" r:id="rId2"/>
    <p:sldLayoutId id="2147503798" r:id="rId3"/>
    <p:sldLayoutId id="2147503799" r:id="rId4"/>
    <p:sldLayoutId id="2147503800" r:id="rId5"/>
    <p:sldLayoutId id="2147503801" r:id="rId6"/>
    <p:sldLayoutId id="2147503802" r:id="rId7"/>
    <p:sldLayoutId id="2147503803" r:id="rId8"/>
    <p:sldLayoutId id="2147503804" r:id="rId9"/>
    <p:sldLayoutId id="2147503805" r:id="rId10"/>
    <p:sldLayoutId id="2147503806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>
            <a:extLst>
              <a:ext uri="{FF2B5EF4-FFF2-40B4-BE49-F238E27FC236}">
                <a16:creationId xmlns="" xmlns:a16="http://schemas.microsoft.com/office/drawing/2014/main" id="{76B83A22-D978-4DE9-9C6C-30BC75F040CB}"/>
              </a:ext>
            </a:extLst>
          </p:cNvPr>
          <p:cNvGraphicFramePr>
            <a:graphicFrameLocks noChangeAspect="1"/>
          </p:cNvGraphicFramePr>
          <p:nvPr>
            <p:custDataLst>
              <p:tags r:id="rId7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9" name="Слайд think-cell" r:id="rId71" imgW="360" imgH="360" progId="TCLayout.ActiveDocument.1">
                  <p:embed/>
                </p:oleObj>
              </mc:Choice>
              <mc:Fallback>
                <p:oleObj name="Слайд think-cell" r:id="rId71" imgW="360" imgH="360" progId="TCLayout.ActiveDocument.1">
                  <p:embed/>
                  <p:pic>
                    <p:nvPicPr>
                      <p:cNvPr id="2050" name="Object 1" hidden="1">
                        <a:extLst>
                          <a:ext uri="{FF2B5EF4-FFF2-40B4-BE49-F238E27FC236}">
                            <a16:creationId xmlns="" xmlns:a16="http://schemas.microsoft.com/office/drawing/2014/main" id="{76B83A22-D978-4DE9-9C6C-30BC75F040C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Page">
            <a:extLst>
              <a:ext uri="{FF2B5EF4-FFF2-40B4-BE49-F238E27FC236}">
                <a16:creationId xmlns="" xmlns:a16="http://schemas.microsoft.com/office/drawing/2014/main" id="{747B3AFE-5BE6-47E9-A0F0-3F7097FF44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0B1B476-F49A-4235-8585-275A69501C1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="" xmlns:a16="http://schemas.microsoft.com/office/drawing/2014/main" id="{69FC7AE0-76C4-48F6-BED7-25669A747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25C5EB5-EDC9-4135-B859-655F8BCC86AA}" type="datetime1">
              <a:rPr lang="en-US" smtClean="0"/>
              <a:t>5/22/202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B7332A5E-6E23-42F5-B2D4-F81846C69A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2054" name="Title Placeholder 1">
            <a:extLst>
              <a:ext uri="{FF2B5EF4-FFF2-40B4-BE49-F238E27FC236}">
                <a16:creationId xmlns="" xmlns:a16="http://schemas.microsoft.com/office/drawing/2014/main" id="{9D0B4AC9-BCAF-492A-A305-F2DF5EE7D36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>
                <a:sym typeface="Trebuchet MS" panose="020B0603020202020204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3807" r:id="rId1"/>
    <p:sldLayoutId id="2147503808" r:id="rId2"/>
    <p:sldLayoutId id="2147503809" r:id="rId3"/>
    <p:sldLayoutId id="2147503810" r:id="rId4"/>
    <p:sldLayoutId id="2147503811" r:id="rId5"/>
    <p:sldLayoutId id="2147503812" r:id="rId6"/>
    <p:sldLayoutId id="2147503813" r:id="rId7"/>
    <p:sldLayoutId id="2147503814" r:id="rId8"/>
    <p:sldLayoutId id="2147503815" r:id="rId9"/>
    <p:sldLayoutId id="2147503816" r:id="rId10"/>
    <p:sldLayoutId id="2147503817" r:id="rId11"/>
    <p:sldLayoutId id="2147503818" r:id="rId12"/>
    <p:sldLayoutId id="2147503819" r:id="rId13"/>
    <p:sldLayoutId id="2147503820" r:id="rId14"/>
    <p:sldLayoutId id="2147503821" r:id="rId15"/>
    <p:sldLayoutId id="2147503822" r:id="rId16"/>
    <p:sldLayoutId id="2147503823" r:id="rId17"/>
    <p:sldLayoutId id="2147503824" r:id="rId18"/>
    <p:sldLayoutId id="2147503825" r:id="rId19"/>
    <p:sldLayoutId id="2147503826" r:id="rId20"/>
    <p:sldLayoutId id="2147503827" r:id="rId21"/>
    <p:sldLayoutId id="2147503828" r:id="rId22"/>
    <p:sldLayoutId id="2147503829" r:id="rId23"/>
    <p:sldLayoutId id="2147503830" r:id="rId24"/>
    <p:sldLayoutId id="2147503831" r:id="rId25"/>
    <p:sldLayoutId id="2147503832" r:id="rId26"/>
    <p:sldLayoutId id="2147503833" r:id="rId27"/>
    <p:sldLayoutId id="2147503834" r:id="rId28"/>
    <p:sldLayoutId id="2147503835" r:id="rId29"/>
    <p:sldLayoutId id="2147503836" r:id="rId30"/>
    <p:sldLayoutId id="2147503837" r:id="rId31"/>
    <p:sldLayoutId id="2147503838" r:id="rId32"/>
    <p:sldLayoutId id="2147503839" r:id="rId33"/>
    <p:sldLayoutId id="2147503840" r:id="rId34"/>
    <p:sldLayoutId id="2147503841" r:id="rId35"/>
    <p:sldLayoutId id="2147503842" r:id="rId36"/>
    <p:sldLayoutId id="2147503843" r:id="rId37"/>
    <p:sldLayoutId id="2147503844" r:id="rId38"/>
    <p:sldLayoutId id="2147503845" r:id="rId39"/>
    <p:sldLayoutId id="2147503846" r:id="rId40"/>
    <p:sldLayoutId id="2147503847" r:id="rId41"/>
    <p:sldLayoutId id="2147503848" r:id="rId42"/>
    <p:sldLayoutId id="2147503849" r:id="rId43"/>
    <p:sldLayoutId id="2147503850" r:id="rId44"/>
    <p:sldLayoutId id="2147503851" r:id="rId45"/>
    <p:sldLayoutId id="2147503852" r:id="rId46"/>
    <p:sldLayoutId id="2147503853" r:id="rId47"/>
    <p:sldLayoutId id="2147503854" r:id="rId48"/>
    <p:sldLayoutId id="2147503855" r:id="rId49"/>
    <p:sldLayoutId id="2147503856" r:id="rId50"/>
    <p:sldLayoutId id="2147503857" r:id="rId51"/>
    <p:sldLayoutId id="2147503858" r:id="rId52"/>
    <p:sldLayoutId id="2147503859" r:id="rId53"/>
    <p:sldLayoutId id="2147503860" r:id="rId54"/>
    <p:sldLayoutId id="2147503861" r:id="rId55"/>
    <p:sldLayoutId id="2147503862" r:id="rId56"/>
    <p:sldLayoutId id="2147503863" r:id="rId57"/>
    <p:sldLayoutId id="2147503864" r:id="rId58"/>
    <p:sldLayoutId id="2147503865" r:id="rId59"/>
    <p:sldLayoutId id="2147503866" r:id="rId60"/>
    <p:sldLayoutId id="2147503867" r:id="rId61"/>
    <p:sldLayoutId id="2147503868" r:id="rId62"/>
    <p:sldLayoutId id="2147503869" r:id="rId63"/>
    <p:sldLayoutId id="2147503870" r:id="rId64"/>
    <p:sldLayoutId id="2147503871" r:id="rId65"/>
    <p:sldLayoutId id="2147503872" r:id="rId66"/>
    <p:sldLayoutId id="2147503873" r:id="rId67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>
            <a:extLst>
              <a:ext uri="{FF2B5EF4-FFF2-40B4-BE49-F238E27FC236}">
                <a16:creationId xmlns="" xmlns:a16="http://schemas.microsoft.com/office/drawing/2014/main" id="{E276DECC-03AD-4F13-A84D-FCAB963F07D3}"/>
              </a:ext>
            </a:extLst>
          </p:cNvPr>
          <p:cNvGraphicFramePr>
            <a:graphicFrameLocks noChangeAspect="1"/>
          </p:cNvGraphicFramePr>
          <p:nvPr>
            <p:custDataLst>
              <p:tags r:id="rId6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81" name="Слайд think-cell" r:id="rId69" imgW="360" imgH="360" progId="TCLayout.ActiveDocument.1">
                  <p:embed/>
                </p:oleObj>
              </mc:Choice>
              <mc:Fallback>
                <p:oleObj name="Слайд think-cell" r:id="rId69" imgW="360" imgH="360" progId="TCLayout.ActiveDocument.1">
                  <p:embed/>
                  <p:pic>
                    <p:nvPicPr>
                      <p:cNvPr id="3074" name="Object 1" hidden="1">
                        <a:extLst>
                          <a:ext uri="{FF2B5EF4-FFF2-40B4-BE49-F238E27FC236}">
                            <a16:creationId xmlns="" xmlns:a16="http://schemas.microsoft.com/office/drawing/2014/main" id="{E276DECC-03AD-4F13-A84D-FCAB963F07D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Page">
            <a:extLst>
              <a:ext uri="{FF2B5EF4-FFF2-40B4-BE49-F238E27FC236}">
                <a16:creationId xmlns="" xmlns:a16="http://schemas.microsoft.com/office/drawing/2014/main" id="{FBCF9148-A29E-4192-B8C8-CBD0CBABE8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8FC951D-0039-4B95-8F24-C6715ADADEC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="" xmlns:a16="http://schemas.microsoft.com/office/drawing/2014/main" id="{BF6712CC-1921-4F06-BB2B-D4AB84F199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64397AF-A46B-4715-B51B-9AB435FC7341}" type="datetime1">
              <a:rPr lang="en-US" smtClean="0"/>
              <a:t>5/22/202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8DB6952D-E3D8-4FE0-A2C5-EB964348E6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3078" name="Title Placeholder 1">
            <a:extLst>
              <a:ext uri="{FF2B5EF4-FFF2-40B4-BE49-F238E27FC236}">
                <a16:creationId xmlns="" xmlns:a16="http://schemas.microsoft.com/office/drawing/2014/main" id="{7CFFB3D7-EDAA-464C-A901-20E3D052649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>
                <a:sym typeface="Trebuchet MS" panose="020B0603020202020204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3874" r:id="rId1"/>
    <p:sldLayoutId id="2147503875" r:id="rId2"/>
    <p:sldLayoutId id="2147503876" r:id="rId3"/>
    <p:sldLayoutId id="2147503877" r:id="rId4"/>
    <p:sldLayoutId id="2147503878" r:id="rId5"/>
    <p:sldLayoutId id="2147503879" r:id="rId6"/>
    <p:sldLayoutId id="2147503880" r:id="rId7"/>
    <p:sldLayoutId id="2147503881" r:id="rId8"/>
    <p:sldLayoutId id="2147503882" r:id="rId9"/>
    <p:sldLayoutId id="2147503883" r:id="rId10"/>
    <p:sldLayoutId id="2147503884" r:id="rId11"/>
    <p:sldLayoutId id="2147503885" r:id="rId12"/>
    <p:sldLayoutId id="2147503886" r:id="rId13"/>
    <p:sldLayoutId id="2147503887" r:id="rId14"/>
    <p:sldLayoutId id="2147503888" r:id="rId15"/>
    <p:sldLayoutId id="2147503889" r:id="rId16"/>
    <p:sldLayoutId id="2147503890" r:id="rId17"/>
    <p:sldLayoutId id="2147503891" r:id="rId18"/>
    <p:sldLayoutId id="2147503892" r:id="rId19"/>
    <p:sldLayoutId id="2147503893" r:id="rId20"/>
    <p:sldLayoutId id="2147503894" r:id="rId21"/>
    <p:sldLayoutId id="2147503895" r:id="rId22"/>
    <p:sldLayoutId id="2147503896" r:id="rId23"/>
    <p:sldLayoutId id="2147503897" r:id="rId24"/>
    <p:sldLayoutId id="2147503898" r:id="rId25"/>
    <p:sldLayoutId id="2147503899" r:id="rId26"/>
    <p:sldLayoutId id="2147503900" r:id="rId27"/>
    <p:sldLayoutId id="2147503901" r:id="rId28"/>
    <p:sldLayoutId id="2147503902" r:id="rId29"/>
    <p:sldLayoutId id="2147503903" r:id="rId30"/>
    <p:sldLayoutId id="2147503904" r:id="rId31"/>
    <p:sldLayoutId id="2147503905" r:id="rId32"/>
    <p:sldLayoutId id="2147503906" r:id="rId33"/>
    <p:sldLayoutId id="2147503907" r:id="rId34"/>
    <p:sldLayoutId id="2147503908" r:id="rId35"/>
    <p:sldLayoutId id="2147503909" r:id="rId36"/>
    <p:sldLayoutId id="2147503910" r:id="rId37"/>
    <p:sldLayoutId id="2147503911" r:id="rId38"/>
    <p:sldLayoutId id="2147503912" r:id="rId39"/>
    <p:sldLayoutId id="2147503913" r:id="rId40"/>
    <p:sldLayoutId id="2147503914" r:id="rId41"/>
    <p:sldLayoutId id="2147503915" r:id="rId42"/>
    <p:sldLayoutId id="2147503916" r:id="rId43"/>
    <p:sldLayoutId id="2147503917" r:id="rId44"/>
    <p:sldLayoutId id="2147503918" r:id="rId45"/>
    <p:sldLayoutId id="2147503919" r:id="rId46"/>
    <p:sldLayoutId id="2147503920" r:id="rId47"/>
    <p:sldLayoutId id="2147503921" r:id="rId48"/>
    <p:sldLayoutId id="2147503922" r:id="rId49"/>
    <p:sldLayoutId id="2147503923" r:id="rId50"/>
    <p:sldLayoutId id="2147503924" r:id="rId51"/>
    <p:sldLayoutId id="2147503925" r:id="rId52"/>
    <p:sldLayoutId id="2147503926" r:id="rId53"/>
    <p:sldLayoutId id="2147503927" r:id="rId54"/>
    <p:sldLayoutId id="2147503928" r:id="rId55"/>
    <p:sldLayoutId id="2147503929" r:id="rId56"/>
    <p:sldLayoutId id="2147503930" r:id="rId57"/>
    <p:sldLayoutId id="2147503931" r:id="rId58"/>
    <p:sldLayoutId id="2147503932" r:id="rId59"/>
    <p:sldLayoutId id="2147503933" r:id="rId60"/>
    <p:sldLayoutId id="2147503934" r:id="rId61"/>
    <p:sldLayoutId id="2147503935" r:id="rId62"/>
    <p:sldLayoutId id="2147503936" r:id="rId63"/>
    <p:sldLayoutId id="2147503937" r:id="rId64"/>
    <p:sldLayoutId id="2147503938" r:id="rId65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>
            <a:extLst>
              <a:ext uri="{FF2B5EF4-FFF2-40B4-BE49-F238E27FC236}">
                <a16:creationId xmlns="" xmlns:a16="http://schemas.microsoft.com/office/drawing/2014/main" id="{99FA68A3-668E-4A43-A10D-C9FACCE83869}"/>
              </a:ext>
            </a:extLst>
          </p:cNvPr>
          <p:cNvGraphicFramePr>
            <a:graphicFrameLocks noChangeAspect="1"/>
          </p:cNvGraphicFramePr>
          <p:nvPr>
            <p:custDataLst>
              <p:tags r:id="rId6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65" name="Слайд think-cell" r:id="rId69" imgW="360" imgH="360" progId="TCLayout.ActiveDocument.1">
                  <p:embed/>
                </p:oleObj>
              </mc:Choice>
              <mc:Fallback>
                <p:oleObj name="Слайд think-cell" r:id="rId69" imgW="360" imgH="360" progId="TCLayout.ActiveDocument.1">
                  <p:embed/>
                  <p:pic>
                    <p:nvPicPr>
                      <p:cNvPr id="4098" name="Object 1" hidden="1">
                        <a:extLst>
                          <a:ext uri="{FF2B5EF4-FFF2-40B4-BE49-F238E27FC236}">
                            <a16:creationId xmlns="" xmlns:a16="http://schemas.microsoft.com/office/drawing/2014/main" id="{99FA68A3-668E-4A43-A10D-C9FACCE8386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Page">
            <a:extLst>
              <a:ext uri="{FF2B5EF4-FFF2-40B4-BE49-F238E27FC236}">
                <a16:creationId xmlns="" xmlns:a16="http://schemas.microsoft.com/office/drawing/2014/main" id="{7F014440-23DC-44F8-8066-27E268A71A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75382A8-BFBC-4603-938E-FE4B9B65C4A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="" xmlns:a16="http://schemas.microsoft.com/office/drawing/2014/main" id="{DBE7452B-767E-456A-BFD0-E43CCD9B0B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9CFBD37-FBEE-49A8-A315-6094FDF0902F}" type="datetime1">
              <a:rPr lang="en-US" smtClean="0"/>
              <a:t>5/22/202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7E42CB13-EA39-4460-87D4-990D19D1F3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4102" name="Title Placeholder 1">
            <a:extLst>
              <a:ext uri="{FF2B5EF4-FFF2-40B4-BE49-F238E27FC236}">
                <a16:creationId xmlns="" xmlns:a16="http://schemas.microsoft.com/office/drawing/2014/main" id="{280277CB-1E7C-4CA4-ABC1-D06CD52CB73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>
                <a:sym typeface="Trebuchet MS" panose="020B0603020202020204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3939" r:id="rId1"/>
    <p:sldLayoutId id="2147503940" r:id="rId2"/>
    <p:sldLayoutId id="2147503941" r:id="rId3"/>
    <p:sldLayoutId id="2147503942" r:id="rId4"/>
    <p:sldLayoutId id="2147503943" r:id="rId5"/>
    <p:sldLayoutId id="2147503944" r:id="rId6"/>
    <p:sldLayoutId id="2147503945" r:id="rId7"/>
    <p:sldLayoutId id="2147503946" r:id="rId8"/>
    <p:sldLayoutId id="2147503947" r:id="rId9"/>
    <p:sldLayoutId id="2147503948" r:id="rId10"/>
    <p:sldLayoutId id="2147503949" r:id="rId11"/>
    <p:sldLayoutId id="2147503950" r:id="rId12"/>
    <p:sldLayoutId id="2147503951" r:id="rId13"/>
    <p:sldLayoutId id="2147503952" r:id="rId14"/>
    <p:sldLayoutId id="2147503953" r:id="rId15"/>
    <p:sldLayoutId id="2147503954" r:id="rId16"/>
    <p:sldLayoutId id="2147503955" r:id="rId17"/>
    <p:sldLayoutId id="2147503956" r:id="rId18"/>
    <p:sldLayoutId id="2147503957" r:id="rId19"/>
    <p:sldLayoutId id="2147503958" r:id="rId20"/>
    <p:sldLayoutId id="2147503959" r:id="rId21"/>
    <p:sldLayoutId id="2147503960" r:id="rId22"/>
    <p:sldLayoutId id="2147503961" r:id="rId23"/>
    <p:sldLayoutId id="2147503962" r:id="rId24"/>
    <p:sldLayoutId id="2147503963" r:id="rId25"/>
    <p:sldLayoutId id="2147503964" r:id="rId26"/>
    <p:sldLayoutId id="2147503965" r:id="rId27"/>
    <p:sldLayoutId id="2147503966" r:id="rId28"/>
    <p:sldLayoutId id="2147503967" r:id="rId29"/>
    <p:sldLayoutId id="2147503968" r:id="rId30"/>
    <p:sldLayoutId id="2147503969" r:id="rId31"/>
    <p:sldLayoutId id="2147503970" r:id="rId32"/>
    <p:sldLayoutId id="2147503971" r:id="rId33"/>
    <p:sldLayoutId id="2147503972" r:id="rId34"/>
    <p:sldLayoutId id="2147503973" r:id="rId35"/>
    <p:sldLayoutId id="2147503974" r:id="rId36"/>
    <p:sldLayoutId id="2147503975" r:id="rId37"/>
    <p:sldLayoutId id="2147503976" r:id="rId38"/>
    <p:sldLayoutId id="2147503977" r:id="rId39"/>
    <p:sldLayoutId id="2147503978" r:id="rId40"/>
    <p:sldLayoutId id="2147503979" r:id="rId41"/>
    <p:sldLayoutId id="2147503980" r:id="rId42"/>
    <p:sldLayoutId id="2147503981" r:id="rId43"/>
    <p:sldLayoutId id="2147503982" r:id="rId44"/>
    <p:sldLayoutId id="2147503983" r:id="rId45"/>
    <p:sldLayoutId id="2147503984" r:id="rId46"/>
    <p:sldLayoutId id="2147503985" r:id="rId47"/>
    <p:sldLayoutId id="2147503986" r:id="rId48"/>
    <p:sldLayoutId id="2147503987" r:id="rId49"/>
    <p:sldLayoutId id="2147503988" r:id="rId50"/>
    <p:sldLayoutId id="2147503989" r:id="rId51"/>
    <p:sldLayoutId id="2147503990" r:id="rId52"/>
    <p:sldLayoutId id="2147503991" r:id="rId53"/>
    <p:sldLayoutId id="2147503992" r:id="rId54"/>
    <p:sldLayoutId id="2147503993" r:id="rId55"/>
    <p:sldLayoutId id="2147503994" r:id="rId56"/>
    <p:sldLayoutId id="2147503995" r:id="rId57"/>
    <p:sldLayoutId id="2147503996" r:id="rId58"/>
    <p:sldLayoutId id="2147503997" r:id="rId59"/>
    <p:sldLayoutId id="2147503998" r:id="rId60"/>
    <p:sldLayoutId id="2147503999" r:id="rId61"/>
    <p:sldLayoutId id="2147504000" r:id="rId62"/>
    <p:sldLayoutId id="2147504001" r:id="rId63"/>
    <p:sldLayoutId id="2147504002" r:id="rId64"/>
    <p:sldLayoutId id="2147504003" r:id="rId65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>
            <a:extLst>
              <a:ext uri="{FF2B5EF4-FFF2-40B4-BE49-F238E27FC236}">
                <a16:creationId xmlns="" xmlns:a16="http://schemas.microsoft.com/office/drawing/2014/main" id="{C9F7D910-B629-4A47-AF96-17097C33D192}"/>
              </a:ext>
            </a:extLst>
          </p:cNvPr>
          <p:cNvGraphicFramePr>
            <a:graphicFrameLocks noChangeAspect="1"/>
          </p:cNvGraphicFramePr>
          <p:nvPr>
            <p:custDataLst>
              <p:tags r:id="rId6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49" name="Слайд think-cell" r:id="rId70" imgW="360" imgH="360" progId="TCLayout.ActiveDocument.1">
                  <p:embed/>
                </p:oleObj>
              </mc:Choice>
              <mc:Fallback>
                <p:oleObj name="Слайд think-cell" r:id="rId70" imgW="360" imgH="360" progId="TCLayout.ActiveDocument.1">
                  <p:embed/>
                  <p:pic>
                    <p:nvPicPr>
                      <p:cNvPr id="5122" name="Object 1" hidden="1">
                        <a:extLst>
                          <a:ext uri="{FF2B5EF4-FFF2-40B4-BE49-F238E27FC236}">
                            <a16:creationId xmlns="" xmlns:a16="http://schemas.microsoft.com/office/drawing/2014/main" id="{C9F7D910-B629-4A47-AF96-17097C33D1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Page">
            <a:extLst>
              <a:ext uri="{FF2B5EF4-FFF2-40B4-BE49-F238E27FC236}">
                <a16:creationId xmlns="" xmlns:a16="http://schemas.microsoft.com/office/drawing/2014/main" id="{72F4818A-AB77-4253-AE2E-F19F08FAFA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CC53632-F23B-4F1B-84AE-C116A8CA5A4B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="" xmlns:a16="http://schemas.microsoft.com/office/drawing/2014/main" id="{3DC12E11-1FF1-45D8-9DF3-7B05BAC514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6F2945E-2DEE-446E-8C75-BE803C5D46F0}" type="datetime1">
              <a:rPr lang="en-US" smtClean="0"/>
              <a:t>5/22/202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8775182-EC52-49B7-8DBE-B6898501E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5126" name="Title Placeholder 1">
            <a:extLst>
              <a:ext uri="{FF2B5EF4-FFF2-40B4-BE49-F238E27FC236}">
                <a16:creationId xmlns="" xmlns:a16="http://schemas.microsoft.com/office/drawing/2014/main" id="{FC3FCF52-0A7E-493A-B38F-CE4B2511680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>
                <a:sym typeface="Trebuchet MS" panose="020B0603020202020204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4004" r:id="rId1"/>
    <p:sldLayoutId id="2147504005" r:id="rId2"/>
    <p:sldLayoutId id="2147504006" r:id="rId3"/>
    <p:sldLayoutId id="2147504007" r:id="rId4"/>
    <p:sldLayoutId id="2147504008" r:id="rId5"/>
    <p:sldLayoutId id="2147504009" r:id="rId6"/>
    <p:sldLayoutId id="2147504010" r:id="rId7"/>
    <p:sldLayoutId id="2147504011" r:id="rId8"/>
    <p:sldLayoutId id="2147504012" r:id="rId9"/>
    <p:sldLayoutId id="2147504013" r:id="rId10"/>
    <p:sldLayoutId id="2147504014" r:id="rId11"/>
    <p:sldLayoutId id="2147504015" r:id="rId12"/>
    <p:sldLayoutId id="2147504016" r:id="rId13"/>
    <p:sldLayoutId id="2147504017" r:id="rId14"/>
    <p:sldLayoutId id="2147504018" r:id="rId15"/>
    <p:sldLayoutId id="2147504019" r:id="rId16"/>
    <p:sldLayoutId id="2147504020" r:id="rId17"/>
    <p:sldLayoutId id="2147504021" r:id="rId18"/>
    <p:sldLayoutId id="2147504022" r:id="rId19"/>
    <p:sldLayoutId id="2147504023" r:id="rId20"/>
    <p:sldLayoutId id="2147504024" r:id="rId21"/>
    <p:sldLayoutId id="2147504025" r:id="rId22"/>
    <p:sldLayoutId id="2147504026" r:id="rId23"/>
    <p:sldLayoutId id="2147504027" r:id="rId24"/>
    <p:sldLayoutId id="2147504028" r:id="rId25"/>
    <p:sldLayoutId id="2147504029" r:id="rId26"/>
    <p:sldLayoutId id="2147504030" r:id="rId27"/>
    <p:sldLayoutId id="2147504031" r:id="rId28"/>
    <p:sldLayoutId id="2147504032" r:id="rId29"/>
    <p:sldLayoutId id="2147504033" r:id="rId30"/>
    <p:sldLayoutId id="2147504034" r:id="rId31"/>
    <p:sldLayoutId id="2147504035" r:id="rId32"/>
    <p:sldLayoutId id="2147504036" r:id="rId33"/>
    <p:sldLayoutId id="2147504037" r:id="rId34"/>
    <p:sldLayoutId id="2147504038" r:id="rId35"/>
    <p:sldLayoutId id="2147504039" r:id="rId36"/>
    <p:sldLayoutId id="2147504040" r:id="rId37"/>
    <p:sldLayoutId id="2147504041" r:id="rId38"/>
    <p:sldLayoutId id="2147504042" r:id="rId39"/>
    <p:sldLayoutId id="2147504043" r:id="rId40"/>
    <p:sldLayoutId id="2147504044" r:id="rId41"/>
    <p:sldLayoutId id="2147504045" r:id="rId42"/>
    <p:sldLayoutId id="2147504046" r:id="rId43"/>
    <p:sldLayoutId id="2147504047" r:id="rId44"/>
    <p:sldLayoutId id="2147504048" r:id="rId45"/>
    <p:sldLayoutId id="2147504049" r:id="rId46"/>
    <p:sldLayoutId id="2147504050" r:id="rId47"/>
    <p:sldLayoutId id="2147504051" r:id="rId48"/>
    <p:sldLayoutId id="2147504052" r:id="rId49"/>
    <p:sldLayoutId id="2147504053" r:id="rId50"/>
    <p:sldLayoutId id="2147504054" r:id="rId51"/>
    <p:sldLayoutId id="2147504055" r:id="rId52"/>
    <p:sldLayoutId id="2147504056" r:id="rId53"/>
    <p:sldLayoutId id="2147504057" r:id="rId54"/>
    <p:sldLayoutId id="2147504058" r:id="rId55"/>
    <p:sldLayoutId id="2147504059" r:id="rId56"/>
    <p:sldLayoutId id="2147504060" r:id="rId57"/>
    <p:sldLayoutId id="2147504061" r:id="rId58"/>
    <p:sldLayoutId id="2147504062" r:id="rId59"/>
    <p:sldLayoutId id="2147504063" r:id="rId60"/>
    <p:sldLayoutId id="2147504064" r:id="rId61"/>
    <p:sldLayoutId id="2147504065" r:id="rId62"/>
    <p:sldLayoutId id="2147504066" r:id="rId63"/>
    <p:sldLayoutId id="2147504067" r:id="rId64"/>
    <p:sldLayoutId id="2147504068" r:id="rId65"/>
    <p:sldLayoutId id="2147504069" r:id="rId66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>
            <a:extLst>
              <a:ext uri="{FF2B5EF4-FFF2-40B4-BE49-F238E27FC236}">
                <a16:creationId xmlns="" xmlns:a16="http://schemas.microsoft.com/office/drawing/2014/main" id="{EC7D0A0C-A665-4B9A-9E91-167E912EF4BD}"/>
              </a:ext>
            </a:extLst>
          </p:cNvPr>
          <p:cNvGraphicFramePr>
            <a:graphicFrameLocks noChangeAspect="1"/>
          </p:cNvGraphicFramePr>
          <p:nvPr>
            <p:custDataLst>
              <p:tags r:id="rId6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56" name="Слайд think-cell" r:id="rId70" imgW="360" imgH="360" progId="TCLayout.ActiveDocument.1">
                  <p:embed/>
                </p:oleObj>
              </mc:Choice>
              <mc:Fallback>
                <p:oleObj name="Слайд think-cell" r:id="rId70" imgW="360" imgH="360" progId="TCLayout.ActiveDocument.1">
                  <p:embed/>
                  <p:pic>
                    <p:nvPicPr>
                      <p:cNvPr id="6146" name="Object 1" hidden="1">
                        <a:extLst>
                          <a:ext uri="{FF2B5EF4-FFF2-40B4-BE49-F238E27FC236}">
                            <a16:creationId xmlns="" xmlns:a16="http://schemas.microsoft.com/office/drawing/2014/main" id="{EC7D0A0C-A665-4B9A-9E91-167E912EF4B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Page">
            <a:extLst>
              <a:ext uri="{FF2B5EF4-FFF2-40B4-BE49-F238E27FC236}">
                <a16:creationId xmlns="" xmlns:a16="http://schemas.microsoft.com/office/drawing/2014/main" id="{637199CA-566D-4949-A666-FE02010213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984D7A3-D24D-4898-B148-CCA79BF6D12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="" xmlns:a16="http://schemas.microsoft.com/office/drawing/2014/main" id="{260C9DA0-34E4-45E9-8385-204313571C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15BD451-8307-446E-BD73-DF646D7E58B0}" type="datetime1">
              <a:rPr lang="en-US" smtClean="0"/>
              <a:t>5/22/202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F920BC4-4CDB-435C-B1F7-AF07C6586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6150" name="Title Placeholder 1">
            <a:extLst>
              <a:ext uri="{FF2B5EF4-FFF2-40B4-BE49-F238E27FC236}">
                <a16:creationId xmlns="" xmlns:a16="http://schemas.microsoft.com/office/drawing/2014/main" id="{F70A802C-35BD-4AB4-B8AF-E7729F9F934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>
                <a:sym typeface="Trebuchet MS" panose="020B0603020202020204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4070" r:id="rId1"/>
    <p:sldLayoutId id="2147504071" r:id="rId2"/>
    <p:sldLayoutId id="2147504072" r:id="rId3"/>
    <p:sldLayoutId id="2147504073" r:id="rId4"/>
    <p:sldLayoutId id="2147504074" r:id="rId5"/>
    <p:sldLayoutId id="2147504075" r:id="rId6"/>
    <p:sldLayoutId id="2147504076" r:id="rId7"/>
    <p:sldLayoutId id="2147504077" r:id="rId8"/>
    <p:sldLayoutId id="2147504078" r:id="rId9"/>
    <p:sldLayoutId id="2147504079" r:id="rId10"/>
    <p:sldLayoutId id="2147504080" r:id="rId11"/>
    <p:sldLayoutId id="2147504081" r:id="rId12"/>
    <p:sldLayoutId id="2147504082" r:id="rId13"/>
    <p:sldLayoutId id="2147504083" r:id="rId14"/>
    <p:sldLayoutId id="2147504084" r:id="rId15"/>
    <p:sldLayoutId id="2147504085" r:id="rId16"/>
    <p:sldLayoutId id="2147504086" r:id="rId17"/>
    <p:sldLayoutId id="2147504087" r:id="rId18"/>
    <p:sldLayoutId id="2147504088" r:id="rId19"/>
    <p:sldLayoutId id="2147504089" r:id="rId20"/>
    <p:sldLayoutId id="2147504090" r:id="rId21"/>
    <p:sldLayoutId id="2147504091" r:id="rId22"/>
    <p:sldLayoutId id="2147504092" r:id="rId23"/>
    <p:sldLayoutId id="2147504093" r:id="rId24"/>
    <p:sldLayoutId id="2147504094" r:id="rId25"/>
    <p:sldLayoutId id="2147504095" r:id="rId26"/>
    <p:sldLayoutId id="2147504096" r:id="rId27"/>
    <p:sldLayoutId id="2147504097" r:id="rId28"/>
    <p:sldLayoutId id="2147504098" r:id="rId29"/>
    <p:sldLayoutId id="2147504099" r:id="rId30"/>
    <p:sldLayoutId id="2147504100" r:id="rId31"/>
    <p:sldLayoutId id="2147504101" r:id="rId32"/>
    <p:sldLayoutId id="2147504102" r:id="rId33"/>
    <p:sldLayoutId id="2147504103" r:id="rId34"/>
    <p:sldLayoutId id="2147504104" r:id="rId35"/>
    <p:sldLayoutId id="2147504105" r:id="rId36"/>
    <p:sldLayoutId id="2147504106" r:id="rId37"/>
    <p:sldLayoutId id="2147504107" r:id="rId38"/>
    <p:sldLayoutId id="2147504108" r:id="rId39"/>
    <p:sldLayoutId id="2147504109" r:id="rId40"/>
    <p:sldLayoutId id="2147504110" r:id="rId41"/>
    <p:sldLayoutId id="2147504111" r:id="rId42"/>
    <p:sldLayoutId id="2147504112" r:id="rId43"/>
    <p:sldLayoutId id="2147504113" r:id="rId44"/>
    <p:sldLayoutId id="2147504114" r:id="rId45"/>
    <p:sldLayoutId id="2147504115" r:id="rId46"/>
    <p:sldLayoutId id="2147504116" r:id="rId47"/>
    <p:sldLayoutId id="2147504117" r:id="rId48"/>
    <p:sldLayoutId id="2147504118" r:id="rId49"/>
    <p:sldLayoutId id="2147504119" r:id="rId50"/>
    <p:sldLayoutId id="2147504120" r:id="rId51"/>
    <p:sldLayoutId id="2147504121" r:id="rId52"/>
    <p:sldLayoutId id="2147504122" r:id="rId53"/>
    <p:sldLayoutId id="2147504123" r:id="rId54"/>
    <p:sldLayoutId id="2147504124" r:id="rId55"/>
    <p:sldLayoutId id="2147504125" r:id="rId56"/>
    <p:sldLayoutId id="2147504126" r:id="rId57"/>
    <p:sldLayoutId id="2147504127" r:id="rId58"/>
    <p:sldLayoutId id="2147504128" r:id="rId59"/>
    <p:sldLayoutId id="2147504129" r:id="rId60"/>
    <p:sldLayoutId id="2147504130" r:id="rId61"/>
    <p:sldLayoutId id="2147504131" r:id="rId62"/>
    <p:sldLayoutId id="2147504132" r:id="rId63"/>
    <p:sldLayoutId id="2147504133" r:id="rId64"/>
    <p:sldLayoutId id="2147504134" r:id="rId65"/>
    <p:sldLayoutId id="2147504135" r:id="rId66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2" hidden="1">
            <a:extLst>
              <a:ext uri="{FF2B5EF4-FFF2-40B4-BE49-F238E27FC236}">
                <a16:creationId xmlns="" xmlns:a16="http://schemas.microsoft.com/office/drawing/2014/main" id="{B20BAC12-1BE5-495D-A083-17BB8EE34666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632" name="Слайд think-cell" r:id="rId16" imgW="383" imgH="384" progId="TCLayout.ActiveDocument.1">
                  <p:embed/>
                </p:oleObj>
              </mc:Choice>
              <mc:Fallback>
                <p:oleObj name="Слайд think-cell" r:id="rId16" imgW="383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A1C768F2-655D-4273-A50C-B99C8E7B231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028" name="Заголовок 1">
            <a:extLst>
              <a:ext uri="{FF2B5EF4-FFF2-40B4-BE49-F238E27FC236}">
                <a16:creationId xmlns="" xmlns:a16="http://schemas.microsoft.com/office/drawing/2014/main" id="{799604AB-CC9A-4D5A-B733-A37BE914892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9" name="Текст 2">
            <a:extLst>
              <a:ext uri="{FF2B5EF4-FFF2-40B4-BE49-F238E27FC236}">
                <a16:creationId xmlns="" xmlns:a16="http://schemas.microsoft.com/office/drawing/2014/main" id="{52F8D45E-116D-4625-8A14-E1EC2F457B0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98E6049-5D9A-4D94-8B54-745A664A32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7FB44A9-17E7-423A-9656-EBCB8C1EB89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/22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4B75052-2D82-4864-A854-136C1172FD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9E77648-8EC2-4C14-B12E-94D6003D0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987CCDEC-BE5A-477B-8547-9F9DA2A7310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Номер слайда 5">
            <a:extLst>
              <a:ext uri="{FF2B5EF4-FFF2-40B4-BE49-F238E27FC236}">
                <a16:creationId xmlns="" xmlns:a16="http://schemas.microsoft.com/office/drawing/2014/main" id="{C37E21AF-9E98-4E23-B88B-7E7ADC74F9C5}"/>
              </a:ext>
            </a:extLst>
          </p:cNvPr>
          <p:cNvSpPr txBox="1">
            <a:spLocks/>
          </p:cNvSpPr>
          <p:nvPr/>
        </p:nvSpPr>
        <p:spPr>
          <a:xfrm>
            <a:off x="9448800" y="6592888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B027290-454C-46FC-B5E5-3F61FABBB863}" type="slidenum">
              <a:rPr lang="en-US" altLang="en-US" sz="1050" smtClean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50" dirty="0">
              <a:solidFill>
                <a:srgbClr val="E7E6E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3351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215" r:id="rId1"/>
    <p:sldLayoutId id="2147504216" r:id="rId2"/>
    <p:sldLayoutId id="2147504217" r:id="rId3"/>
    <p:sldLayoutId id="2147504218" r:id="rId4"/>
    <p:sldLayoutId id="2147504219" r:id="rId5"/>
    <p:sldLayoutId id="2147504220" r:id="rId6"/>
    <p:sldLayoutId id="2147504221" r:id="rId7"/>
    <p:sldLayoutId id="2147504222" r:id="rId8"/>
    <p:sldLayoutId id="2147504223" r:id="rId9"/>
    <p:sldLayoutId id="2147504224" r:id="rId10"/>
    <p:sldLayoutId id="2147504225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505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.emf"/><Relationship Id="rId11" Type="http://schemas.openxmlformats.org/officeDocument/2006/relationships/image" Target="../media/image17.jpeg"/><Relationship Id="rId5" Type="http://schemas.openxmlformats.org/officeDocument/2006/relationships/oleObject" Target="../embeddings/oleObject147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507.xml"/><Relationship Id="rId7" Type="http://schemas.openxmlformats.org/officeDocument/2006/relationships/image" Target="../media/image18.png"/><Relationship Id="rId2" Type="http://schemas.openxmlformats.org/officeDocument/2006/relationships/tags" Target="../tags/tag506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509.xml"/><Relationship Id="rId7" Type="http://schemas.openxmlformats.org/officeDocument/2006/relationships/chart" Target="../charts/chart1.xml"/><Relationship Id="rId2" Type="http://schemas.openxmlformats.org/officeDocument/2006/relationships/tags" Target="../tags/tag508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9.bin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511.xml"/><Relationship Id="rId7" Type="http://schemas.openxmlformats.org/officeDocument/2006/relationships/chart" Target="../charts/chart3.xml"/><Relationship Id="rId25" Type="http://schemas.openxmlformats.org/officeDocument/2006/relationships/image" Target="../media/image390.svg"/><Relationship Id="rId2" Type="http://schemas.openxmlformats.org/officeDocument/2006/relationships/tags" Target="../tags/tag510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150.bin"/><Relationship Id="rId10" Type="http://schemas.openxmlformats.org/officeDocument/2006/relationships/image" Target="../media/image20.svg"/><Relationship Id="rId4" Type="http://schemas.openxmlformats.org/officeDocument/2006/relationships/slideLayout" Target="../slideLayouts/slideLayout347.xml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13.xml"/><Relationship Id="rId2" Type="http://schemas.openxmlformats.org/officeDocument/2006/relationships/tags" Target="../tags/tag512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1.bin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14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5091" name="Объект 12" hidden="1">
            <a:extLst>
              <a:ext uri="{FF2B5EF4-FFF2-40B4-BE49-F238E27FC236}">
                <a16:creationId xmlns="" xmlns:a16="http://schemas.microsoft.com/office/drawing/2014/main" id="{5FB4A0F5-1A8B-481E-B6CB-821D0AD5B0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241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461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45091" name="Объект 12" hidden="1">
                        <a:extLst>
                          <a:ext uri="{FF2B5EF4-FFF2-40B4-BE49-F238E27FC236}">
                            <a16:creationId xmlns="" xmlns:a16="http://schemas.microsoft.com/office/drawing/2014/main" id="{5FB4A0F5-1A8B-481E-B6CB-821D0AD5B07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BDC1ECA0-3D91-4669-AC3C-1A3E23733E3B}"/>
              </a:ext>
            </a:extLst>
          </p:cNvPr>
          <p:cNvSpPr/>
          <p:nvPr/>
        </p:nvSpPr>
        <p:spPr>
          <a:xfrm>
            <a:off x="1329576" y="435665"/>
            <a:ext cx="8771956" cy="600770"/>
          </a:xfrm>
          <a:prstGeom prst="rect">
            <a:avLst/>
          </a:prstGeom>
        </p:spPr>
        <p:txBody>
          <a:bodyPr wrap="square" lIns="76800" tIns="38400" rIns="76800" bIns="38400">
            <a:spAutoFit/>
          </a:bodyPr>
          <a:lstStyle/>
          <a:p>
            <a:pPr defTabSz="345531">
              <a:lnSpc>
                <a:spcPct val="85000"/>
              </a:lnSpc>
              <a:defRPr/>
            </a:pP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Министерство труда и социальной защиты населения</a:t>
            </a:r>
            <a:r>
              <a:rPr lang="en-US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 </a:t>
            </a:r>
            <a:r>
              <a:rPr lang="kk-KZ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/>
            </a:r>
            <a:br>
              <a:rPr lang="kk-KZ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Республики Казахстан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A1D92173-5A4A-421E-A9B7-FF6D683A5601}"/>
              </a:ext>
            </a:extLst>
          </p:cNvPr>
          <p:cNvSpPr txBox="1"/>
          <p:nvPr/>
        </p:nvSpPr>
        <p:spPr>
          <a:xfrm>
            <a:off x="3829050" y="6327431"/>
            <a:ext cx="4278252" cy="247650"/>
          </a:xfrm>
          <a:prstGeom prst="rect">
            <a:avLst/>
          </a:prstGeom>
          <a:noFill/>
        </p:spPr>
        <p:txBody>
          <a:bodyPr wrap="square" lIns="65306" tIns="32653" rIns="65306" bIns="32653">
            <a:spAutoFit/>
          </a:bodyPr>
          <a:lstStyle/>
          <a:p>
            <a:pPr algn="ctr" defTabSz="345531">
              <a:lnSpc>
                <a:spcPct val="85000"/>
              </a:lnSpc>
              <a:defRPr/>
            </a:pP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й </a:t>
            </a: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</a:p>
        </p:txBody>
      </p:sp>
      <p:pic>
        <p:nvPicPr>
          <p:cNvPr id="345095" name="Picture 11" descr="gerb">
            <a:extLst>
              <a:ext uri="{FF2B5EF4-FFF2-40B4-BE49-F238E27FC236}">
                <a16:creationId xmlns="" xmlns:a16="http://schemas.microsoft.com/office/drawing/2014/main" id="{E6F5B3F2-37EF-412E-991E-33DDDF849B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389" y="382385"/>
            <a:ext cx="65405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2">
            <a:extLst>
              <a:ext uri="{FF2B5EF4-FFF2-40B4-BE49-F238E27FC236}">
                <a16:creationId xmlns="" xmlns:a16="http://schemas.microsoft.com/office/drawing/2014/main" id="{7FE43771-877E-4D1C-8A15-7F09A85C47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137" y="1861592"/>
            <a:ext cx="11287500" cy="1029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5306" tIns="32653" rIns="65306" bIns="326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600"/>
              </a:spcBef>
              <a:buFontTx/>
              <a:buNone/>
            </a:pPr>
            <a:r>
              <a:rPr lang="ru-RU" altLang="ru-RU" sz="3200" b="1" dirty="0">
                <a:solidFill>
                  <a:srgbClr val="444D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МЕРАХ ПО ОБЕСПЕЧЕНИЮ </a:t>
            </a:r>
          </a:p>
          <a:p>
            <a:pPr>
              <a:spcBef>
                <a:spcPts val="600"/>
              </a:spcBef>
              <a:buFontTx/>
              <a:buNone/>
            </a:pPr>
            <a:r>
              <a:rPr lang="ru-RU" altLang="ru-RU" sz="3200" b="1" dirty="0">
                <a:solidFill>
                  <a:srgbClr val="444D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ЫХ УСЛОВИЙ ТРУДА 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="" xmlns:a16="http://schemas.microsoft.com/office/drawing/2014/main" id="{B5B90D8F-D357-41EE-B88C-F803C29D43C4}"/>
              </a:ext>
            </a:extLst>
          </p:cNvPr>
          <p:cNvCxnSpPr/>
          <p:nvPr/>
        </p:nvCxnSpPr>
        <p:spPr>
          <a:xfrm>
            <a:off x="731137" y="3000006"/>
            <a:ext cx="1029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6" descr="ÐÐ°ÑÑÐ¸Ð½ÐºÐ¸ Ð¿Ð¾ Ð·Ð°Ð¿ÑÐ¾ÑÑ Ð±ÐµÐ·Ð¾Ð¿Ð°ÑÐ½Ð¾ÑÑÑ Ð¸ Ð¾ÑÑÐ°Ð½Ð° ÑÑÑÐ´Ð°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100" y="3415484"/>
            <a:ext cx="1739106" cy="229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8" descr="http://atisnn.ru/blog/foto_news/6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1820" y="3425824"/>
            <a:ext cx="2225482" cy="2286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043E55FC-732E-4DA1-B9F2-A260415BF39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3761" b="782"/>
          <a:stretch/>
        </p:blipFill>
        <p:spPr>
          <a:xfrm>
            <a:off x="492918" y="3425824"/>
            <a:ext cx="3490913" cy="2286714"/>
          </a:xfrm>
          <a:prstGeom prst="rect">
            <a:avLst/>
          </a:prstGeom>
        </p:spPr>
      </p:pic>
      <p:pic>
        <p:nvPicPr>
          <p:cNvPr id="134322" name="Picture 178" descr="C:\Users\bakytzhanova_b\Desktop\картинки по БИОТ\150219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9440" y="3415484"/>
            <a:ext cx="3220720" cy="2286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1811000" y="6470306"/>
            <a:ext cx="371475" cy="3495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20593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6114" name="Объект 4" hidden="1">
            <a:extLst>
              <a:ext uri="{FF2B5EF4-FFF2-40B4-BE49-F238E27FC236}">
                <a16:creationId xmlns="" xmlns:a16="http://schemas.microsoft.com/office/drawing/2014/main" id="{78A9CD0E-75AB-4DEF-A4D2-6AE619DF59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9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1200" dirty="0">
              <a:solidFill>
                <a:prstClr val="white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cxnSp>
        <p:nvCxnSpPr>
          <p:cNvPr id="233" name="Прямая соединительная линия 232">
            <a:extLst>
              <a:ext uri="{FF2B5EF4-FFF2-40B4-BE49-F238E27FC236}">
                <a16:creationId xmlns=""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318852" y="615950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18852" y="254992"/>
            <a:ext cx="11269663" cy="3077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kk-KZ" alt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Государственное управление охраны труда</a:t>
            </a:r>
            <a:r>
              <a:rPr lang="ru-RU" alt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:</a:t>
            </a:r>
            <a:r>
              <a:rPr lang="ru-RU" altLang="en-US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трехуровневая система контроля по охране труда</a:t>
            </a:r>
            <a:endParaRPr lang="ru-RU" alt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645566" y="6179541"/>
            <a:ext cx="702648" cy="370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6" name="Rectangle 36">
            <a:extLst>
              <a:ext uri="{FF2B5EF4-FFF2-40B4-BE49-F238E27FC236}">
                <a16:creationId xmlns="" xmlns:a16="http://schemas.microsoft.com/office/drawing/2014/main" id="{B7500AB8-0CD5-4F42-A136-24727C210005}"/>
              </a:ext>
            </a:extLst>
          </p:cNvPr>
          <p:cNvSpPr/>
          <p:nvPr/>
        </p:nvSpPr>
        <p:spPr bwMode="auto">
          <a:xfrm>
            <a:off x="7478329" y="1031393"/>
            <a:ext cx="3099702" cy="5364800"/>
          </a:xfrm>
          <a:prstGeom prst="rect">
            <a:avLst/>
          </a:prstGeom>
          <a:solidFill>
            <a:srgbClr val="194B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182E2147-0743-4E3E-88DD-E8B5D10C546F}"/>
              </a:ext>
            </a:extLst>
          </p:cNvPr>
          <p:cNvSpPr/>
          <p:nvPr/>
        </p:nvSpPr>
        <p:spPr bwMode="auto">
          <a:xfrm>
            <a:off x="1694576" y="1052250"/>
            <a:ext cx="2774371" cy="5364800"/>
          </a:xfrm>
          <a:prstGeom prst="rect">
            <a:avLst/>
          </a:prstGeom>
          <a:solidFill>
            <a:srgbClr val="1C56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8" name="Rectangle 36">
            <a:extLst>
              <a:ext uri="{FF2B5EF4-FFF2-40B4-BE49-F238E27FC236}">
                <a16:creationId xmlns="" xmlns:a16="http://schemas.microsoft.com/office/drawing/2014/main" id="{2A90A505-9D46-401A-A8B6-562CA4D75E7C}"/>
              </a:ext>
            </a:extLst>
          </p:cNvPr>
          <p:cNvSpPr/>
          <p:nvPr/>
        </p:nvSpPr>
        <p:spPr bwMode="auto">
          <a:xfrm>
            <a:off x="4603228" y="1031393"/>
            <a:ext cx="2698482" cy="5364800"/>
          </a:xfrm>
          <a:prstGeom prst="rect">
            <a:avLst/>
          </a:prstGeom>
          <a:solidFill>
            <a:srgbClr val="0A6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68B39FE3-2964-4B51-94A7-E556877CFFFB}"/>
              </a:ext>
            </a:extLst>
          </p:cNvPr>
          <p:cNvGrpSpPr/>
          <p:nvPr/>
        </p:nvGrpSpPr>
        <p:grpSpPr>
          <a:xfrm>
            <a:off x="5281965" y="1296036"/>
            <a:ext cx="1259292" cy="1126608"/>
            <a:chOff x="2398371" y="1081723"/>
            <a:chExt cx="756000" cy="756000"/>
          </a:xfrm>
        </p:grpSpPr>
        <p:sp>
          <p:nvSpPr>
            <p:cNvPr id="42" name="Oval 40">
              <a:extLst>
                <a:ext uri="{FF2B5EF4-FFF2-40B4-BE49-F238E27FC236}">
                  <a16:creationId xmlns="" xmlns:a16="http://schemas.microsoft.com/office/drawing/2014/main" id="{2B406E1C-7065-43ED-87F6-76811016EAB2}"/>
                </a:ext>
              </a:extLst>
            </p:cNvPr>
            <p:cNvSpPr/>
            <p:nvPr/>
          </p:nvSpPr>
          <p:spPr bwMode="auto">
            <a:xfrm>
              <a:off x="2398371" y="1081723"/>
              <a:ext cx="756000" cy="756000"/>
            </a:xfrm>
            <a:prstGeom prst="ellipse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3" name="Oval 41">
              <a:extLst>
                <a:ext uri="{FF2B5EF4-FFF2-40B4-BE49-F238E27FC236}">
                  <a16:creationId xmlns="" xmlns:a16="http://schemas.microsoft.com/office/drawing/2014/main" id="{AD02019C-F0F1-48A0-AFF4-B802842DBB3B}"/>
                </a:ext>
              </a:extLst>
            </p:cNvPr>
            <p:cNvSpPr/>
            <p:nvPr/>
          </p:nvSpPr>
          <p:spPr bwMode="auto">
            <a:xfrm>
              <a:off x="2447585" y="1138555"/>
              <a:ext cx="648000" cy="64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438C35AB-8888-40FE-A97A-8D0496D16321}"/>
              </a:ext>
            </a:extLst>
          </p:cNvPr>
          <p:cNvSpPr/>
          <p:nvPr/>
        </p:nvSpPr>
        <p:spPr>
          <a:xfrm>
            <a:off x="7428256" y="2866359"/>
            <a:ext cx="305851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2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енный контроль осуществляемый республиканскими и отраслевыми объединения работника</a:t>
            </a:r>
            <a:endParaRPr lang="ru-RU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7" name="Группа 46">
            <a:extLst>
              <a:ext uri="{FF2B5EF4-FFF2-40B4-BE49-F238E27FC236}">
                <a16:creationId xmlns="" xmlns:a16="http://schemas.microsoft.com/office/drawing/2014/main" id="{B85012EB-F3F0-4BD6-9832-D4BB2FB05C02}"/>
              </a:ext>
            </a:extLst>
          </p:cNvPr>
          <p:cNvGrpSpPr/>
          <p:nvPr/>
        </p:nvGrpSpPr>
        <p:grpSpPr>
          <a:xfrm>
            <a:off x="8294916" y="1324309"/>
            <a:ext cx="1259292" cy="1126608"/>
            <a:chOff x="5305804" y="1089343"/>
            <a:chExt cx="756000" cy="756000"/>
          </a:xfrm>
        </p:grpSpPr>
        <p:sp>
          <p:nvSpPr>
            <p:cNvPr id="48" name="Oval 40">
              <a:extLst>
                <a:ext uri="{FF2B5EF4-FFF2-40B4-BE49-F238E27FC236}">
                  <a16:creationId xmlns="" xmlns:a16="http://schemas.microsoft.com/office/drawing/2014/main" id="{3412D169-B77E-4960-82E8-3C9E56CD4584}"/>
                </a:ext>
              </a:extLst>
            </p:cNvPr>
            <p:cNvSpPr/>
            <p:nvPr/>
          </p:nvSpPr>
          <p:spPr bwMode="auto">
            <a:xfrm>
              <a:off x="5305804" y="1089343"/>
              <a:ext cx="756000" cy="756000"/>
            </a:xfrm>
            <a:prstGeom prst="ellipse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9" name="Oval 41">
              <a:extLst>
                <a:ext uri="{FF2B5EF4-FFF2-40B4-BE49-F238E27FC236}">
                  <a16:creationId xmlns="" xmlns:a16="http://schemas.microsoft.com/office/drawing/2014/main" id="{08295470-D934-48A8-A636-9782FA2C9287}"/>
                </a:ext>
              </a:extLst>
            </p:cNvPr>
            <p:cNvSpPr/>
            <p:nvPr/>
          </p:nvSpPr>
          <p:spPr bwMode="auto">
            <a:xfrm>
              <a:off x="5355016" y="1146175"/>
              <a:ext cx="648000" cy="64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80" name="Прямоугольник 79">
            <a:extLst>
              <a:ext uri="{FF2B5EF4-FFF2-40B4-BE49-F238E27FC236}">
                <a16:creationId xmlns="" xmlns:a16="http://schemas.microsoft.com/office/drawing/2014/main" id="{4EB1B8D7-30DB-460C-8922-100B7972C99F}"/>
              </a:ext>
            </a:extLst>
          </p:cNvPr>
          <p:cNvSpPr/>
          <p:nvPr/>
        </p:nvSpPr>
        <p:spPr>
          <a:xfrm>
            <a:off x="1694579" y="3096458"/>
            <a:ext cx="286864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ый контроль</a:t>
            </a:r>
            <a:r>
              <a:rPr lang="ru-RU" sz="2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20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линии госинспекции труда</a:t>
            </a:r>
            <a:endParaRPr lang="ru-RU" sz="20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="" xmlns:a16="http://schemas.microsoft.com/office/drawing/2014/main" id="{AA4F71EC-17C6-42A2-9CE9-CC098EF23CC3}"/>
              </a:ext>
            </a:extLst>
          </p:cNvPr>
          <p:cNvSpPr/>
          <p:nvPr/>
        </p:nvSpPr>
        <p:spPr>
          <a:xfrm>
            <a:off x="4543367" y="3110654"/>
            <a:ext cx="269847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й контроль со стороны работодателя</a:t>
            </a:r>
            <a:endParaRPr lang="ru-RU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14FF66C8-03C7-45EB-A8C5-3C0ACFCE8823}"/>
              </a:ext>
            </a:extLst>
          </p:cNvPr>
          <p:cNvGrpSpPr/>
          <p:nvPr/>
        </p:nvGrpSpPr>
        <p:grpSpPr>
          <a:xfrm>
            <a:off x="2391205" y="1350035"/>
            <a:ext cx="1259292" cy="1126608"/>
            <a:chOff x="2280965" y="1113020"/>
            <a:chExt cx="756000" cy="756000"/>
          </a:xfrm>
        </p:grpSpPr>
        <p:sp>
          <p:nvSpPr>
            <p:cNvPr id="33" name="Oval 40">
              <a:extLst>
                <a:ext uri="{FF2B5EF4-FFF2-40B4-BE49-F238E27FC236}">
                  <a16:creationId xmlns="" xmlns:a16="http://schemas.microsoft.com/office/drawing/2014/main" id="{2755B76D-7F95-4CE1-8225-10157BD4F106}"/>
                </a:ext>
              </a:extLst>
            </p:cNvPr>
            <p:cNvSpPr/>
            <p:nvPr/>
          </p:nvSpPr>
          <p:spPr bwMode="auto">
            <a:xfrm>
              <a:off x="2280965" y="1113020"/>
              <a:ext cx="756000" cy="756000"/>
            </a:xfrm>
            <a:prstGeom prst="ellipse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5" name="Oval 41">
              <a:extLst>
                <a:ext uri="{FF2B5EF4-FFF2-40B4-BE49-F238E27FC236}">
                  <a16:creationId xmlns="" xmlns:a16="http://schemas.microsoft.com/office/drawing/2014/main" id="{CF2F8191-9C0F-4CF0-AA7C-7A87154D138B}"/>
                </a:ext>
              </a:extLst>
            </p:cNvPr>
            <p:cNvSpPr/>
            <p:nvPr/>
          </p:nvSpPr>
          <p:spPr bwMode="auto">
            <a:xfrm>
              <a:off x="2366596" y="1162080"/>
              <a:ext cx="648000" cy="64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40" name="Shape 1856">
            <a:extLst>
              <a:ext uri="{FF2B5EF4-FFF2-40B4-BE49-F238E27FC236}">
                <a16:creationId xmlns="" xmlns:a16="http://schemas.microsoft.com/office/drawing/2014/main" id="{A742A6C9-E83C-47BC-AF54-8099E8D0333E}"/>
              </a:ext>
            </a:extLst>
          </p:cNvPr>
          <p:cNvSpPr>
            <a:spLocks/>
          </p:cNvSpPr>
          <p:nvPr/>
        </p:nvSpPr>
        <p:spPr bwMode="auto">
          <a:xfrm>
            <a:off x="2785481" y="1604425"/>
            <a:ext cx="539697" cy="590128"/>
          </a:xfrm>
          <a:custGeom>
            <a:avLst/>
            <a:gdLst>
              <a:gd name="T0" fmla="*/ 18469301 w 20964"/>
              <a:gd name="T1" fmla="*/ 56336543 h 20246"/>
              <a:gd name="T2" fmla="*/ 18469301 w 20964"/>
              <a:gd name="T3" fmla="*/ 56336543 h 20246"/>
              <a:gd name="T4" fmla="*/ 18469301 w 20964"/>
              <a:gd name="T5" fmla="*/ 56336543 h 20246"/>
              <a:gd name="T6" fmla="*/ 18469301 w 20964"/>
              <a:gd name="T7" fmla="*/ 56336543 h 20246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964" h="20246" extrusionOk="0">
                <a:moveTo>
                  <a:pt x="5292" y="5719"/>
                </a:moveTo>
                <a:cubicBezTo>
                  <a:pt x="5012" y="3998"/>
                  <a:pt x="5012" y="2278"/>
                  <a:pt x="5292" y="940"/>
                </a:cubicBezTo>
                <a:cubicBezTo>
                  <a:pt x="10061" y="-1354"/>
                  <a:pt x="12025" y="1322"/>
                  <a:pt x="15672" y="940"/>
                </a:cubicBezTo>
                <a:cubicBezTo>
                  <a:pt x="15952" y="2469"/>
                  <a:pt x="15952" y="4381"/>
                  <a:pt x="15391" y="5527"/>
                </a:cubicBezTo>
                <a:cubicBezTo>
                  <a:pt x="15391" y="6483"/>
                  <a:pt x="14830" y="7057"/>
                  <a:pt x="14269" y="7630"/>
                </a:cubicBezTo>
                <a:cubicBezTo>
                  <a:pt x="13147" y="8395"/>
                  <a:pt x="12025" y="8968"/>
                  <a:pt x="10342" y="8968"/>
                </a:cubicBezTo>
                <a:cubicBezTo>
                  <a:pt x="10342" y="8968"/>
                  <a:pt x="10342" y="8968"/>
                  <a:pt x="10342" y="8968"/>
                </a:cubicBezTo>
                <a:cubicBezTo>
                  <a:pt x="8939" y="8968"/>
                  <a:pt x="7537" y="8395"/>
                  <a:pt x="6695" y="7630"/>
                </a:cubicBezTo>
                <a:cubicBezTo>
                  <a:pt x="6134" y="7057"/>
                  <a:pt x="5573" y="6483"/>
                  <a:pt x="5292" y="5719"/>
                </a:cubicBezTo>
                <a:close/>
                <a:moveTo>
                  <a:pt x="3048" y="19290"/>
                </a:moveTo>
                <a:cubicBezTo>
                  <a:pt x="18196" y="19290"/>
                  <a:pt x="18196" y="19290"/>
                  <a:pt x="18196" y="19290"/>
                </a:cubicBezTo>
                <a:cubicBezTo>
                  <a:pt x="17355" y="20246"/>
                  <a:pt x="17355" y="20246"/>
                  <a:pt x="17355" y="20246"/>
                </a:cubicBezTo>
                <a:cubicBezTo>
                  <a:pt x="3890" y="20246"/>
                  <a:pt x="3890" y="20246"/>
                  <a:pt x="3890" y="20246"/>
                </a:cubicBezTo>
                <a:cubicBezTo>
                  <a:pt x="3048" y="19290"/>
                  <a:pt x="3048" y="19290"/>
                  <a:pt x="3048" y="19290"/>
                </a:cubicBezTo>
                <a:close/>
                <a:moveTo>
                  <a:pt x="19038" y="11453"/>
                </a:moveTo>
                <a:cubicBezTo>
                  <a:pt x="20721" y="15850"/>
                  <a:pt x="20721" y="15850"/>
                  <a:pt x="20721" y="15850"/>
                </a:cubicBezTo>
                <a:cubicBezTo>
                  <a:pt x="21282" y="17379"/>
                  <a:pt x="21001" y="18526"/>
                  <a:pt x="18477" y="18526"/>
                </a:cubicBezTo>
                <a:cubicBezTo>
                  <a:pt x="17916" y="18526"/>
                  <a:pt x="17916" y="18526"/>
                  <a:pt x="17916" y="18526"/>
                </a:cubicBezTo>
                <a:cubicBezTo>
                  <a:pt x="17916" y="12600"/>
                  <a:pt x="17916" y="12600"/>
                  <a:pt x="17916" y="12600"/>
                </a:cubicBezTo>
                <a:cubicBezTo>
                  <a:pt x="11183" y="12600"/>
                  <a:pt x="11183" y="12600"/>
                  <a:pt x="11183" y="12600"/>
                </a:cubicBezTo>
                <a:cubicBezTo>
                  <a:pt x="13147" y="9542"/>
                  <a:pt x="13147" y="9542"/>
                  <a:pt x="13147" y="9542"/>
                </a:cubicBezTo>
                <a:cubicBezTo>
                  <a:pt x="13708" y="9159"/>
                  <a:pt x="13708" y="9159"/>
                  <a:pt x="13708" y="9159"/>
                </a:cubicBezTo>
                <a:cubicBezTo>
                  <a:pt x="17635" y="9733"/>
                  <a:pt x="17635" y="9733"/>
                  <a:pt x="17635" y="9733"/>
                </a:cubicBezTo>
                <a:cubicBezTo>
                  <a:pt x="17916" y="9733"/>
                  <a:pt x="17916" y="9733"/>
                  <a:pt x="17916" y="9733"/>
                </a:cubicBezTo>
                <a:cubicBezTo>
                  <a:pt x="17916" y="9924"/>
                  <a:pt x="17916" y="9924"/>
                  <a:pt x="17916" y="9924"/>
                </a:cubicBezTo>
                <a:cubicBezTo>
                  <a:pt x="18477" y="10306"/>
                  <a:pt x="18757" y="10880"/>
                  <a:pt x="19038" y="11644"/>
                </a:cubicBezTo>
                <a:cubicBezTo>
                  <a:pt x="19038" y="11453"/>
                  <a:pt x="19038" y="11453"/>
                  <a:pt x="19038" y="11453"/>
                </a:cubicBezTo>
                <a:close/>
                <a:moveTo>
                  <a:pt x="3329" y="18526"/>
                </a:moveTo>
                <a:cubicBezTo>
                  <a:pt x="2487" y="18526"/>
                  <a:pt x="2487" y="18526"/>
                  <a:pt x="2487" y="18526"/>
                </a:cubicBezTo>
                <a:cubicBezTo>
                  <a:pt x="-37" y="18526"/>
                  <a:pt x="-318" y="17379"/>
                  <a:pt x="243" y="15850"/>
                </a:cubicBezTo>
                <a:cubicBezTo>
                  <a:pt x="1926" y="11453"/>
                  <a:pt x="1926" y="11453"/>
                  <a:pt x="1926" y="11453"/>
                </a:cubicBezTo>
                <a:cubicBezTo>
                  <a:pt x="1926" y="10880"/>
                  <a:pt x="2487" y="10306"/>
                  <a:pt x="3329" y="9733"/>
                </a:cubicBezTo>
                <a:cubicBezTo>
                  <a:pt x="3329" y="9733"/>
                  <a:pt x="3329" y="9733"/>
                  <a:pt x="3329" y="9733"/>
                </a:cubicBezTo>
                <a:cubicBezTo>
                  <a:pt x="3609" y="9733"/>
                  <a:pt x="3609" y="9733"/>
                  <a:pt x="3609" y="9733"/>
                </a:cubicBezTo>
                <a:cubicBezTo>
                  <a:pt x="7256" y="9159"/>
                  <a:pt x="7256" y="9159"/>
                  <a:pt x="7256" y="9159"/>
                </a:cubicBezTo>
                <a:cubicBezTo>
                  <a:pt x="7817" y="9542"/>
                  <a:pt x="7817" y="9542"/>
                  <a:pt x="7817" y="9542"/>
                </a:cubicBezTo>
                <a:cubicBezTo>
                  <a:pt x="10061" y="12600"/>
                  <a:pt x="10061" y="12600"/>
                  <a:pt x="10061" y="12600"/>
                </a:cubicBezTo>
                <a:cubicBezTo>
                  <a:pt x="3329" y="12600"/>
                  <a:pt x="3329" y="12600"/>
                  <a:pt x="3329" y="12600"/>
                </a:cubicBezTo>
                <a:lnTo>
                  <a:pt x="3329" y="18526"/>
                </a:lnTo>
                <a:close/>
              </a:path>
            </a:pathLst>
          </a:custGeom>
          <a:solidFill>
            <a:srgbClr val="1C5686"/>
          </a:solidFill>
          <a:ln>
            <a:noFill/>
          </a:ln>
        </p:spPr>
        <p:txBody>
          <a:bodyPr lIns="45719" rIns="45719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781" y="1523739"/>
            <a:ext cx="664316" cy="66431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1608" y="1423145"/>
            <a:ext cx="814439" cy="81443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1856398" y="6549993"/>
            <a:ext cx="263214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k-KZ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3999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6114" name="Объект 4" hidden="1">
            <a:extLst>
              <a:ext uri="{FF2B5EF4-FFF2-40B4-BE49-F238E27FC236}">
                <a16:creationId xmlns="" xmlns:a16="http://schemas.microsoft.com/office/drawing/2014/main" id="{78A9CD0E-75AB-4DEF-A4D2-6AE619DF59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30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1200" dirty="0">
              <a:solidFill>
                <a:prstClr val="white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cxnSp>
        <p:nvCxnSpPr>
          <p:cNvPr id="233" name="Прямая соединительная линия 232">
            <a:extLst>
              <a:ext uri="{FF2B5EF4-FFF2-40B4-BE49-F238E27FC236}">
                <a16:creationId xmlns=""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 flipV="1">
            <a:off x="318852" y="562769"/>
            <a:ext cx="1180639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18852" y="254992"/>
            <a:ext cx="11469494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Безопасность и охрана труда:</a:t>
            </a:r>
            <a:r>
              <a:rPr lang="ru-RU" altLang="en-US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У</a:t>
            </a:r>
            <a:r>
              <a:rPr lang="ru-RU" altLang="en-US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словия труда</a:t>
            </a:r>
            <a:endParaRPr lang="ru-RU" altLang="en-US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5" name="Группа 44">
            <a:extLst>
              <a:ext uri="{FF2B5EF4-FFF2-40B4-BE49-F238E27FC236}">
                <a16:creationId xmlns="" xmlns:a16="http://schemas.microsoft.com/office/drawing/2014/main" id="{3D04EEE8-057D-48FB-BC4F-03F377B5DD2D}"/>
              </a:ext>
            </a:extLst>
          </p:cNvPr>
          <p:cNvGrpSpPr/>
          <p:nvPr/>
        </p:nvGrpSpPr>
        <p:grpSpPr>
          <a:xfrm>
            <a:off x="0" y="6448365"/>
            <a:ext cx="11887200" cy="400110"/>
            <a:chOff x="2573" y="1073864"/>
            <a:chExt cx="10137075" cy="486325"/>
          </a:xfrm>
        </p:grpSpPr>
        <p:sp>
          <p:nvSpPr>
            <p:cNvPr id="46" name="Прямоугольник 45">
              <a:extLst>
                <a:ext uri="{FF2B5EF4-FFF2-40B4-BE49-F238E27FC236}">
                  <a16:creationId xmlns="" xmlns:a16="http://schemas.microsoft.com/office/drawing/2014/main" id="{2FCBADC8-27C1-4317-B91F-F0E7000626F5}"/>
                </a:ext>
              </a:extLst>
            </p:cNvPr>
            <p:cNvSpPr/>
            <p:nvPr/>
          </p:nvSpPr>
          <p:spPr>
            <a:xfrm>
              <a:off x="2573" y="1093528"/>
              <a:ext cx="10137075" cy="461665"/>
            </a:xfrm>
            <a:prstGeom prst="rect">
              <a:avLst/>
            </a:prstGeom>
            <a:solidFill>
              <a:srgbClr val="295E7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="" xmlns:a16="http://schemas.microsoft.com/office/drawing/2014/main" id="{C9B3B898-33DA-4D93-BEEA-7F72C4CAD3F4}"/>
                </a:ext>
              </a:extLst>
            </p:cNvPr>
            <p:cNvSpPr txBox="1"/>
            <p:nvPr/>
          </p:nvSpPr>
          <p:spPr>
            <a:xfrm>
              <a:off x="76349" y="1073864"/>
              <a:ext cx="10063299" cy="48632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ctr">
                <a:defRPr/>
              </a:pPr>
              <a:endParaRPr lang="ru-RU" sz="2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="" xmlns:a16="http://schemas.microsoft.com/office/drawing/2014/main" id="{C78BD637-6DEE-4473-AEED-7A9BBE6E3377}"/>
              </a:ext>
            </a:extLst>
          </p:cNvPr>
          <p:cNvGrpSpPr/>
          <p:nvPr/>
        </p:nvGrpSpPr>
        <p:grpSpPr>
          <a:xfrm>
            <a:off x="318852" y="632129"/>
            <a:ext cx="6647378" cy="630942"/>
            <a:chOff x="2573" y="1073864"/>
            <a:chExt cx="3954841" cy="727385"/>
          </a:xfrm>
        </p:grpSpPr>
        <p:sp>
          <p:nvSpPr>
            <p:cNvPr id="49" name="Прямоугольник 48">
              <a:extLst>
                <a:ext uri="{FF2B5EF4-FFF2-40B4-BE49-F238E27FC236}">
                  <a16:creationId xmlns="" xmlns:a16="http://schemas.microsoft.com/office/drawing/2014/main" id="{1013B2D1-5924-4918-B140-638C8146033B}"/>
                </a:ext>
              </a:extLst>
            </p:cNvPr>
            <p:cNvSpPr/>
            <p:nvPr/>
          </p:nvSpPr>
          <p:spPr>
            <a:xfrm>
              <a:off x="2573" y="1093528"/>
              <a:ext cx="3954841" cy="707721"/>
            </a:xfrm>
            <a:prstGeom prst="rect">
              <a:avLst/>
            </a:prstGeom>
            <a:solidFill>
              <a:srgbClr val="295E7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="" xmlns:a16="http://schemas.microsoft.com/office/drawing/2014/main" id="{BD6F6D35-FBCA-408B-8614-B8748BFC9F58}"/>
                </a:ext>
              </a:extLst>
            </p:cNvPr>
            <p:cNvSpPr txBox="1"/>
            <p:nvPr/>
          </p:nvSpPr>
          <p:spPr>
            <a:xfrm>
              <a:off x="76348" y="1073864"/>
              <a:ext cx="3760312" cy="60319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just">
                <a:defRPr/>
              </a:pPr>
              <a:r>
                <a:rPr lang="ru-RU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</a:t>
              </a:r>
              <a:r>
                <a:rPr lang="ru-RU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</a:t>
              </a:r>
              <a:r>
                <a:rPr lang="en-US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ru-RU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у обследовано 1,6 млн работников, из них во вредных условиях труда занято </a:t>
              </a:r>
              <a:r>
                <a:rPr lang="ru-RU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r>
                <a:rPr lang="en-US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6</a:t>
              </a:r>
              <a:r>
                <a:rPr lang="ru-RU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ыс. </a:t>
              </a:r>
              <a:r>
                <a:rPr lang="ru-RU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чел</a:t>
              </a:r>
              <a:r>
                <a:rPr lang="ru-RU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</p:grpSp>
      <p:graphicFrame>
        <p:nvGraphicFramePr>
          <p:cNvPr id="27" name="Диаграмма 67">
            <a:extLst>
              <a:ext uri="{FF2B5EF4-FFF2-40B4-BE49-F238E27FC236}">
                <a16:creationId xmlns="" xmlns:a16="http://schemas.microsoft.com/office/drawing/2014/main" id="{707420BF-C6EC-4643-944F-157DEC419A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4954606"/>
              </p:ext>
            </p:extLst>
          </p:nvPr>
        </p:nvGraphicFramePr>
        <p:xfrm>
          <a:off x="104389" y="1252427"/>
          <a:ext cx="7076303" cy="3569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87988" y="4970074"/>
            <a:ext cx="6752046" cy="980135"/>
          </a:xfrm>
          <a:prstGeom prst="rect">
            <a:avLst/>
          </a:prstGeom>
          <a:noFill/>
        </p:spPr>
        <p:txBody>
          <a:bodyPr wrap="square" lIns="117216" tIns="58608" rIns="117216" bIns="58608" rtlCol="0">
            <a:spAutoFit/>
          </a:bodyPr>
          <a:lstStyle/>
          <a:p>
            <a:pPr algn="just" defTabSz="885231"/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В 2022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ду 680 тыс. работников получили различные компенсации за работу во вредных условиях труда. 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 defTabSz="885231"/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  На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ти цели работодателями выделено 207,6 млрд. тенге, что на 24 % больше, чем в 2021 году.</a:t>
            </a: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xmlns="" id="{B5611650-A9F5-4D15-8B3A-714ED5593445}"/>
              </a:ext>
            </a:extLst>
          </p:cNvPr>
          <p:cNvCxnSpPr>
            <a:cxnSpLocks/>
          </p:cNvCxnSpPr>
          <p:nvPr/>
        </p:nvCxnSpPr>
        <p:spPr>
          <a:xfrm>
            <a:off x="7076303" y="562769"/>
            <a:ext cx="0" cy="5901774"/>
          </a:xfrm>
          <a:prstGeom prst="line">
            <a:avLst/>
          </a:prstGeom>
          <a:ln w="1905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32" name="Объект 2">
            <a:extLst>
              <a:ext uri="{FF2B5EF4-FFF2-40B4-BE49-F238E27FC236}">
                <a16:creationId xmlns="" xmlns:a16="http://schemas.microsoft.com/office/drawing/2014/main" id="{C6B46BAA-D1A4-45A3-9945-3192673EAE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6568808"/>
              </p:ext>
            </p:extLst>
          </p:nvPr>
        </p:nvGraphicFramePr>
        <p:xfrm>
          <a:off x="7244717" y="1520828"/>
          <a:ext cx="4799002" cy="2183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33" name="Группа 32">
            <a:extLst>
              <a:ext uri="{FF2B5EF4-FFF2-40B4-BE49-F238E27FC236}">
                <a16:creationId xmlns="" xmlns:a16="http://schemas.microsoft.com/office/drawing/2014/main" id="{C78BD637-6DEE-4473-AEED-7A9BBE6E3377}"/>
              </a:ext>
            </a:extLst>
          </p:cNvPr>
          <p:cNvGrpSpPr/>
          <p:nvPr/>
        </p:nvGrpSpPr>
        <p:grpSpPr>
          <a:xfrm>
            <a:off x="7321485" y="604928"/>
            <a:ext cx="4803763" cy="658144"/>
            <a:chOff x="2573" y="1073864"/>
            <a:chExt cx="2246027" cy="870224"/>
          </a:xfrm>
        </p:grpSpPr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1013B2D1-5924-4918-B140-638C8146033B}"/>
                </a:ext>
              </a:extLst>
            </p:cNvPr>
            <p:cNvSpPr/>
            <p:nvPr/>
          </p:nvSpPr>
          <p:spPr>
            <a:xfrm>
              <a:off x="2573" y="1093528"/>
              <a:ext cx="2246027" cy="850560"/>
            </a:xfrm>
            <a:prstGeom prst="rect">
              <a:avLst/>
            </a:prstGeom>
            <a:solidFill>
              <a:srgbClr val="295E7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="" xmlns:a16="http://schemas.microsoft.com/office/drawing/2014/main" id="{BD6F6D35-FBCA-408B-8614-B8748BFC9F58}"/>
                </a:ext>
              </a:extLst>
            </p:cNvPr>
            <p:cNvSpPr txBox="1"/>
            <p:nvPr/>
          </p:nvSpPr>
          <p:spPr>
            <a:xfrm>
              <a:off x="76348" y="1073864"/>
              <a:ext cx="2113439" cy="851573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just">
                <a:defRPr/>
              </a:pPr>
              <a:r>
                <a:rPr lang="ru-RU" sz="14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изводственный травматизм за последние пять лет снижен на 6,5% (с 2018 по 2022 годы)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738EB3E3-2206-4216-9632-2F26C3F1614D}"/>
              </a:ext>
            </a:extLst>
          </p:cNvPr>
          <p:cNvGrpSpPr>
            <a:grpSpLocks noChangeAspect="1"/>
          </p:cNvGrpSpPr>
          <p:nvPr/>
        </p:nvGrpSpPr>
        <p:grpSpPr>
          <a:xfrm>
            <a:off x="7479274" y="4464080"/>
            <a:ext cx="409420" cy="326778"/>
            <a:chOff x="5273799" y="2606040"/>
            <a:chExt cx="1644396" cy="1645920"/>
          </a:xfrm>
        </p:grpSpPr>
        <p:sp>
          <p:nvSpPr>
            <p:cNvPr id="40" name="AutoShape 13">
              <a:extLst>
                <a:ext uri="{FF2B5EF4-FFF2-40B4-BE49-F238E27FC236}">
                  <a16:creationId xmlns="" xmlns:a16="http://schemas.microsoft.com/office/drawing/2014/main" id="{CA1327DC-FDE2-4E55-ADF4-EB2AC001578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x-non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2" name="Group 40">
              <a:extLst>
                <a:ext uri="{FF2B5EF4-FFF2-40B4-BE49-F238E27FC236}">
                  <a16:creationId xmlns="" xmlns:a16="http://schemas.microsoft.com/office/drawing/2014/main" id="{C1B1C685-9865-46F5-8D8F-248094CDFA80}"/>
                </a:ext>
              </a:extLst>
            </p:cNvPr>
            <p:cNvGrpSpPr/>
            <p:nvPr/>
          </p:nvGrpSpPr>
          <p:grpSpPr>
            <a:xfrm>
              <a:off x="5407149" y="2775204"/>
              <a:ext cx="1379220" cy="1306068"/>
              <a:chOff x="5407149" y="2775204"/>
              <a:chExt cx="1379220" cy="1306068"/>
            </a:xfrm>
          </p:grpSpPr>
          <p:sp>
            <p:nvSpPr>
              <p:cNvPr id="43" name="Freeform 15">
                <a:extLst>
                  <a:ext uri="{FF2B5EF4-FFF2-40B4-BE49-F238E27FC236}">
                    <a16:creationId xmlns="" xmlns:a16="http://schemas.microsoft.com/office/drawing/2014/main" id="{9FB8B50B-2499-4869-AFC2-C8D77DF5F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rgbClr val="44546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x-non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 16">
                <a:extLst>
                  <a:ext uri="{FF2B5EF4-FFF2-40B4-BE49-F238E27FC236}">
                    <a16:creationId xmlns="" xmlns:a16="http://schemas.microsoft.com/office/drawing/2014/main" id="{E453D76D-AE83-4C9A-8B3A-B725EC50A9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rgbClr val="5B9B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x-non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1" name="bcgIcons_ConstructionCrane">
            <a:extLst>
              <a:ext uri="{FF2B5EF4-FFF2-40B4-BE49-F238E27FC236}">
                <a16:creationId xmlns="" xmlns:a16="http://schemas.microsoft.com/office/drawing/2014/main" id="{ADD68379-5805-487D-ACE5-8D69CD168C1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96305" y="5071034"/>
            <a:ext cx="437516" cy="437919"/>
            <a:chOff x="1682" y="0"/>
            <a:chExt cx="4316" cy="4320"/>
          </a:xfrm>
        </p:grpSpPr>
        <p:sp>
          <p:nvSpPr>
            <p:cNvPr id="53" name="AutoShape 3">
              <a:extLst>
                <a:ext uri="{FF2B5EF4-FFF2-40B4-BE49-F238E27FC236}">
                  <a16:creationId xmlns="" xmlns:a16="http://schemas.microsoft.com/office/drawing/2014/main" id="{C42A20EB-4022-41DF-A311-7B01803C3E2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x-non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">
              <a:extLst>
                <a:ext uri="{FF2B5EF4-FFF2-40B4-BE49-F238E27FC236}">
                  <a16:creationId xmlns="" xmlns:a16="http://schemas.microsoft.com/office/drawing/2014/main" id="{7D785E08-0415-420B-A37F-21F0E35D6A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8" y="1674"/>
              <a:ext cx="1579" cy="1827"/>
            </a:xfrm>
            <a:custGeom>
              <a:avLst/>
              <a:gdLst>
                <a:gd name="T0" fmla="*/ 769 w 843"/>
                <a:gd name="T1" fmla="*/ 827 h 974"/>
                <a:gd name="T2" fmla="*/ 699 w 843"/>
                <a:gd name="T3" fmla="*/ 878 h 974"/>
                <a:gd name="T4" fmla="*/ 492 w 843"/>
                <a:gd name="T5" fmla="*/ 878 h 974"/>
                <a:gd name="T6" fmla="*/ 421 w 843"/>
                <a:gd name="T7" fmla="*/ 827 h 974"/>
                <a:gd name="T8" fmla="*/ 351 w 843"/>
                <a:gd name="T9" fmla="*/ 878 h 974"/>
                <a:gd name="T10" fmla="*/ 144 w 843"/>
                <a:gd name="T11" fmla="*/ 878 h 974"/>
                <a:gd name="T12" fmla="*/ 74 w 843"/>
                <a:gd name="T13" fmla="*/ 827 h 974"/>
                <a:gd name="T14" fmla="*/ 0 w 843"/>
                <a:gd name="T15" fmla="*/ 900 h 974"/>
                <a:gd name="T16" fmla="*/ 74 w 843"/>
                <a:gd name="T17" fmla="*/ 974 h 974"/>
                <a:gd name="T18" fmla="*/ 144 w 843"/>
                <a:gd name="T19" fmla="*/ 922 h 974"/>
                <a:gd name="T20" fmla="*/ 351 w 843"/>
                <a:gd name="T21" fmla="*/ 922 h 974"/>
                <a:gd name="T22" fmla="*/ 421 w 843"/>
                <a:gd name="T23" fmla="*/ 974 h 974"/>
                <a:gd name="T24" fmla="*/ 492 w 843"/>
                <a:gd name="T25" fmla="*/ 922 h 974"/>
                <a:gd name="T26" fmla="*/ 699 w 843"/>
                <a:gd name="T27" fmla="*/ 922 h 974"/>
                <a:gd name="T28" fmla="*/ 769 w 843"/>
                <a:gd name="T29" fmla="*/ 974 h 974"/>
                <a:gd name="T30" fmla="*/ 843 w 843"/>
                <a:gd name="T31" fmla="*/ 900 h 974"/>
                <a:gd name="T32" fmla="*/ 769 w 843"/>
                <a:gd name="T33" fmla="*/ 827 h 974"/>
                <a:gd name="T34" fmla="*/ 74 w 843"/>
                <a:gd name="T35" fmla="*/ 930 h 974"/>
                <a:gd name="T36" fmla="*/ 44 w 843"/>
                <a:gd name="T37" fmla="*/ 900 h 974"/>
                <a:gd name="T38" fmla="*/ 74 w 843"/>
                <a:gd name="T39" fmla="*/ 871 h 974"/>
                <a:gd name="T40" fmla="*/ 103 w 843"/>
                <a:gd name="T41" fmla="*/ 900 h 974"/>
                <a:gd name="T42" fmla="*/ 74 w 843"/>
                <a:gd name="T43" fmla="*/ 930 h 974"/>
                <a:gd name="T44" fmla="*/ 421 w 843"/>
                <a:gd name="T45" fmla="*/ 930 h 974"/>
                <a:gd name="T46" fmla="*/ 392 w 843"/>
                <a:gd name="T47" fmla="*/ 900 h 974"/>
                <a:gd name="T48" fmla="*/ 421 w 843"/>
                <a:gd name="T49" fmla="*/ 871 h 974"/>
                <a:gd name="T50" fmla="*/ 451 w 843"/>
                <a:gd name="T51" fmla="*/ 900 h 974"/>
                <a:gd name="T52" fmla="*/ 421 w 843"/>
                <a:gd name="T53" fmla="*/ 930 h 974"/>
                <a:gd name="T54" fmla="*/ 769 w 843"/>
                <a:gd name="T55" fmla="*/ 930 h 974"/>
                <a:gd name="T56" fmla="*/ 739 w 843"/>
                <a:gd name="T57" fmla="*/ 900 h 974"/>
                <a:gd name="T58" fmla="*/ 769 w 843"/>
                <a:gd name="T59" fmla="*/ 871 h 974"/>
                <a:gd name="T60" fmla="*/ 799 w 843"/>
                <a:gd name="T61" fmla="*/ 900 h 974"/>
                <a:gd name="T62" fmla="*/ 769 w 843"/>
                <a:gd name="T63" fmla="*/ 930 h 974"/>
                <a:gd name="T64" fmla="*/ 539 w 843"/>
                <a:gd name="T65" fmla="*/ 0 h 974"/>
                <a:gd name="T66" fmla="*/ 289 w 843"/>
                <a:gd name="T67" fmla="*/ 0 h 974"/>
                <a:gd name="T68" fmla="*/ 289 w 843"/>
                <a:gd name="T69" fmla="*/ 439 h 974"/>
                <a:gd name="T70" fmla="*/ 351 w 843"/>
                <a:gd name="T71" fmla="*/ 439 h 974"/>
                <a:gd name="T72" fmla="*/ 351 w 843"/>
                <a:gd name="T73" fmla="*/ 546 h 974"/>
                <a:gd name="T74" fmla="*/ 729 w 843"/>
                <a:gd name="T75" fmla="*/ 546 h 974"/>
                <a:gd name="T76" fmla="*/ 729 w 843"/>
                <a:gd name="T77" fmla="*/ 439 h 974"/>
                <a:gd name="T78" fmla="*/ 788 w 843"/>
                <a:gd name="T79" fmla="*/ 439 h 974"/>
                <a:gd name="T80" fmla="*/ 788 w 843"/>
                <a:gd name="T81" fmla="*/ 259 h 974"/>
                <a:gd name="T82" fmla="*/ 539 w 843"/>
                <a:gd name="T83" fmla="*/ 0 h 974"/>
                <a:gd name="T84" fmla="*/ 603 w 843"/>
                <a:gd name="T85" fmla="*/ 310 h 974"/>
                <a:gd name="T86" fmla="*/ 411 w 843"/>
                <a:gd name="T87" fmla="*/ 310 h 974"/>
                <a:gd name="T88" fmla="*/ 411 w 843"/>
                <a:gd name="T89" fmla="*/ 157 h 974"/>
                <a:gd name="T90" fmla="*/ 508 w 843"/>
                <a:gd name="T91" fmla="*/ 157 h 974"/>
                <a:gd name="T92" fmla="*/ 603 w 843"/>
                <a:gd name="T93" fmla="*/ 249 h 974"/>
                <a:gd name="T94" fmla="*/ 603 w 843"/>
                <a:gd name="T95" fmla="*/ 310 h 974"/>
                <a:gd name="T96" fmla="*/ 307 w 843"/>
                <a:gd name="T97" fmla="*/ 483 h 974"/>
                <a:gd name="T98" fmla="*/ 307 w 843"/>
                <a:gd name="T99" fmla="*/ 546 h 974"/>
                <a:gd name="T100" fmla="*/ 45 w 843"/>
                <a:gd name="T101" fmla="*/ 546 h 974"/>
                <a:gd name="T102" fmla="*/ 45 w 843"/>
                <a:gd name="T103" fmla="*/ 330 h 974"/>
                <a:gd name="T104" fmla="*/ 245 w 843"/>
                <a:gd name="T105" fmla="*/ 330 h 974"/>
                <a:gd name="T106" fmla="*/ 245 w 843"/>
                <a:gd name="T107" fmla="*/ 483 h 974"/>
                <a:gd name="T108" fmla="*/ 307 w 843"/>
                <a:gd name="T109" fmla="*/ 483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43" h="974">
                  <a:moveTo>
                    <a:pt x="769" y="827"/>
                  </a:moveTo>
                  <a:cubicBezTo>
                    <a:pt x="736" y="827"/>
                    <a:pt x="708" y="849"/>
                    <a:pt x="699" y="878"/>
                  </a:cubicBezTo>
                  <a:cubicBezTo>
                    <a:pt x="492" y="878"/>
                    <a:pt x="492" y="878"/>
                    <a:pt x="492" y="878"/>
                  </a:cubicBezTo>
                  <a:cubicBezTo>
                    <a:pt x="482" y="849"/>
                    <a:pt x="454" y="827"/>
                    <a:pt x="421" y="827"/>
                  </a:cubicBezTo>
                  <a:cubicBezTo>
                    <a:pt x="388" y="827"/>
                    <a:pt x="361" y="849"/>
                    <a:pt x="351" y="878"/>
                  </a:cubicBezTo>
                  <a:cubicBezTo>
                    <a:pt x="144" y="878"/>
                    <a:pt x="144" y="878"/>
                    <a:pt x="144" y="878"/>
                  </a:cubicBezTo>
                  <a:cubicBezTo>
                    <a:pt x="134" y="849"/>
                    <a:pt x="107" y="827"/>
                    <a:pt x="74" y="827"/>
                  </a:cubicBezTo>
                  <a:cubicBezTo>
                    <a:pt x="33" y="827"/>
                    <a:pt x="0" y="860"/>
                    <a:pt x="0" y="900"/>
                  </a:cubicBezTo>
                  <a:cubicBezTo>
                    <a:pt x="0" y="941"/>
                    <a:pt x="33" y="974"/>
                    <a:pt x="74" y="974"/>
                  </a:cubicBezTo>
                  <a:cubicBezTo>
                    <a:pt x="107" y="974"/>
                    <a:pt x="134" y="952"/>
                    <a:pt x="144" y="922"/>
                  </a:cubicBezTo>
                  <a:cubicBezTo>
                    <a:pt x="351" y="922"/>
                    <a:pt x="351" y="922"/>
                    <a:pt x="351" y="922"/>
                  </a:cubicBezTo>
                  <a:cubicBezTo>
                    <a:pt x="361" y="952"/>
                    <a:pt x="388" y="974"/>
                    <a:pt x="421" y="974"/>
                  </a:cubicBezTo>
                  <a:cubicBezTo>
                    <a:pt x="454" y="974"/>
                    <a:pt x="482" y="952"/>
                    <a:pt x="492" y="922"/>
                  </a:cubicBezTo>
                  <a:cubicBezTo>
                    <a:pt x="699" y="922"/>
                    <a:pt x="699" y="922"/>
                    <a:pt x="699" y="922"/>
                  </a:cubicBezTo>
                  <a:cubicBezTo>
                    <a:pt x="708" y="952"/>
                    <a:pt x="736" y="974"/>
                    <a:pt x="769" y="974"/>
                  </a:cubicBezTo>
                  <a:cubicBezTo>
                    <a:pt x="810" y="974"/>
                    <a:pt x="843" y="941"/>
                    <a:pt x="843" y="900"/>
                  </a:cubicBezTo>
                  <a:cubicBezTo>
                    <a:pt x="843" y="860"/>
                    <a:pt x="810" y="827"/>
                    <a:pt x="769" y="827"/>
                  </a:cubicBezTo>
                  <a:close/>
                  <a:moveTo>
                    <a:pt x="74" y="930"/>
                  </a:moveTo>
                  <a:cubicBezTo>
                    <a:pt x="57" y="930"/>
                    <a:pt x="44" y="917"/>
                    <a:pt x="44" y="900"/>
                  </a:cubicBezTo>
                  <a:cubicBezTo>
                    <a:pt x="44" y="884"/>
                    <a:pt x="57" y="871"/>
                    <a:pt x="74" y="871"/>
                  </a:cubicBezTo>
                  <a:cubicBezTo>
                    <a:pt x="90" y="871"/>
                    <a:pt x="103" y="884"/>
                    <a:pt x="103" y="900"/>
                  </a:cubicBezTo>
                  <a:cubicBezTo>
                    <a:pt x="103" y="917"/>
                    <a:pt x="90" y="930"/>
                    <a:pt x="74" y="930"/>
                  </a:cubicBezTo>
                  <a:close/>
                  <a:moveTo>
                    <a:pt x="421" y="930"/>
                  </a:moveTo>
                  <a:cubicBezTo>
                    <a:pt x="405" y="930"/>
                    <a:pt x="392" y="917"/>
                    <a:pt x="392" y="900"/>
                  </a:cubicBezTo>
                  <a:cubicBezTo>
                    <a:pt x="392" y="884"/>
                    <a:pt x="405" y="871"/>
                    <a:pt x="421" y="871"/>
                  </a:cubicBezTo>
                  <a:cubicBezTo>
                    <a:pt x="438" y="871"/>
                    <a:pt x="451" y="884"/>
                    <a:pt x="451" y="900"/>
                  </a:cubicBezTo>
                  <a:cubicBezTo>
                    <a:pt x="451" y="917"/>
                    <a:pt x="438" y="930"/>
                    <a:pt x="421" y="930"/>
                  </a:cubicBezTo>
                  <a:close/>
                  <a:moveTo>
                    <a:pt x="769" y="930"/>
                  </a:moveTo>
                  <a:cubicBezTo>
                    <a:pt x="753" y="930"/>
                    <a:pt x="739" y="917"/>
                    <a:pt x="739" y="900"/>
                  </a:cubicBezTo>
                  <a:cubicBezTo>
                    <a:pt x="739" y="884"/>
                    <a:pt x="753" y="871"/>
                    <a:pt x="769" y="871"/>
                  </a:cubicBezTo>
                  <a:cubicBezTo>
                    <a:pt x="785" y="871"/>
                    <a:pt x="799" y="884"/>
                    <a:pt x="799" y="900"/>
                  </a:cubicBezTo>
                  <a:cubicBezTo>
                    <a:pt x="799" y="917"/>
                    <a:pt x="785" y="930"/>
                    <a:pt x="769" y="930"/>
                  </a:cubicBezTo>
                  <a:close/>
                  <a:moveTo>
                    <a:pt x="539" y="0"/>
                  </a:moveTo>
                  <a:cubicBezTo>
                    <a:pt x="289" y="0"/>
                    <a:pt x="289" y="0"/>
                    <a:pt x="289" y="0"/>
                  </a:cubicBezTo>
                  <a:cubicBezTo>
                    <a:pt x="289" y="439"/>
                    <a:pt x="289" y="439"/>
                    <a:pt x="289" y="439"/>
                  </a:cubicBezTo>
                  <a:cubicBezTo>
                    <a:pt x="351" y="439"/>
                    <a:pt x="351" y="439"/>
                    <a:pt x="351" y="439"/>
                  </a:cubicBezTo>
                  <a:cubicBezTo>
                    <a:pt x="351" y="546"/>
                    <a:pt x="351" y="546"/>
                    <a:pt x="351" y="546"/>
                  </a:cubicBezTo>
                  <a:cubicBezTo>
                    <a:pt x="729" y="546"/>
                    <a:pt x="729" y="546"/>
                    <a:pt x="729" y="546"/>
                  </a:cubicBezTo>
                  <a:cubicBezTo>
                    <a:pt x="729" y="439"/>
                    <a:pt x="729" y="439"/>
                    <a:pt x="729" y="439"/>
                  </a:cubicBezTo>
                  <a:cubicBezTo>
                    <a:pt x="788" y="439"/>
                    <a:pt x="788" y="439"/>
                    <a:pt x="788" y="439"/>
                  </a:cubicBezTo>
                  <a:cubicBezTo>
                    <a:pt x="788" y="259"/>
                    <a:pt x="788" y="259"/>
                    <a:pt x="788" y="259"/>
                  </a:cubicBezTo>
                  <a:lnTo>
                    <a:pt x="539" y="0"/>
                  </a:lnTo>
                  <a:close/>
                  <a:moveTo>
                    <a:pt x="603" y="310"/>
                  </a:moveTo>
                  <a:cubicBezTo>
                    <a:pt x="411" y="310"/>
                    <a:pt x="411" y="310"/>
                    <a:pt x="411" y="310"/>
                  </a:cubicBezTo>
                  <a:cubicBezTo>
                    <a:pt x="411" y="157"/>
                    <a:pt x="411" y="157"/>
                    <a:pt x="411" y="157"/>
                  </a:cubicBezTo>
                  <a:cubicBezTo>
                    <a:pt x="508" y="157"/>
                    <a:pt x="508" y="157"/>
                    <a:pt x="508" y="157"/>
                  </a:cubicBezTo>
                  <a:cubicBezTo>
                    <a:pt x="603" y="249"/>
                    <a:pt x="603" y="249"/>
                    <a:pt x="603" y="249"/>
                  </a:cubicBezTo>
                  <a:lnTo>
                    <a:pt x="603" y="310"/>
                  </a:lnTo>
                  <a:close/>
                  <a:moveTo>
                    <a:pt x="307" y="483"/>
                  </a:moveTo>
                  <a:cubicBezTo>
                    <a:pt x="307" y="546"/>
                    <a:pt x="307" y="546"/>
                    <a:pt x="307" y="546"/>
                  </a:cubicBezTo>
                  <a:cubicBezTo>
                    <a:pt x="45" y="546"/>
                    <a:pt x="45" y="546"/>
                    <a:pt x="45" y="546"/>
                  </a:cubicBezTo>
                  <a:cubicBezTo>
                    <a:pt x="45" y="330"/>
                    <a:pt x="45" y="330"/>
                    <a:pt x="45" y="330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483"/>
                    <a:pt x="245" y="483"/>
                    <a:pt x="245" y="483"/>
                  </a:cubicBezTo>
                  <a:lnTo>
                    <a:pt x="307" y="483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x-non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="" xmlns:a16="http://schemas.microsoft.com/office/drawing/2014/main" id="{FBB3A9F3-4B8D-4480-AA1C-BFB67F58E0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9" y="572"/>
              <a:ext cx="3477" cy="3090"/>
            </a:xfrm>
            <a:custGeom>
              <a:avLst/>
              <a:gdLst>
                <a:gd name="T0" fmla="*/ 0 w 1856"/>
                <a:gd name="T1" fmla="*/ 1488 h 1648"/>
                <a:gd name="T2" fmla="*/ 1023 w 1856"/>
                <a:gd name="T3" fmla="*/ 1488 h 1648"/>
                <a:gd name="T4" fmla="*/ 44 w 1856"/>
                <a:gd name="T5" fmla="*/ 1488 h 1648"/>
                <a:gd name="T6" fmla="*/ 979 w 1856"/>
                <a:gd name="T7" fmla="*/ 1488 h 1648"/>
                <a:gd name="T8" fmla="*/ 1782 w 1856"/>
                <a:gd name="T9" fmla="*/ 661 h 1648"/>
                <a:gd name="T10" fmla="*/ 1775 w 1856"/>
                <a:gd name="T11" fmla="*/ 129 h 1648"/>
                <a:gd name="T12" fmla="*/ 1645 w 1856"/>
                <a:gd name="T13" fmla="*/ 4 h 1648"/>
                <a:gd name="T14" fmla="*/ 1642 w 1856"/>
                <a:gd name="T15" fmla="*/ 2 h 1648"/>
                <a:gd name="T16" fmla="*/ 1638 w 1856"/>
                <a:gd name="T17" fmla="*/ 1 h 1648"/>
                <a:gd name="T18" fmla="*/ 1632 w 1856"/>
                <a:gd name="T19" fmla="*/ 0 h 1648"/>
                <a:gd name="T20" fmla="*/ 1628 w 1856"/>
                <a:gd name="T21" fmla="*/ 1 h 1648"/>
                <a:gd name="T22" fmla="*/ 135 w 1856"/>
                <a:gd name="T23" fmla="*/ 385 h 1648"/>
                <a:gd name="T24" fmla="*/ 144 w 1856"/>
                <a:gd name="T25" fmla="*/ 531 h 1648"/>
                <a:gd name="T26" fmla="*/ 56 w 1856"/>
                <a:gd name="T27" fmla="*/ 614 h 1648"/>
                <a:gd name="T28" fmla="*/ 335 w 1856"/>
                <a:gd name="T29" fmla="*/ 868 h 1648"/>
                <a:gd name="T30" fmla="*/ 211 w 1856"/>
                <a:gd name="T31" fmla="*/ 580 h 1648"/>
                <a:gd name="T32" fmla="*/ 208 w 1856"/>
                <a:gd name="T33" fmla="*/ 454 h 1648"/>
                <a:gd name="T34" fmla="*/ 707 w 1856"/>
                <a:gd name="T35" fmla="*/ 607 h 1648"/>
                <a:gd name="T36" fmla="*/ 851 w 1856"/>
                <a:gd name="T37" fmla="*/ 755 h 1648"/>
                <a:gd name="T38" fmla="*/ 869 w 1856"/>
                <a:gd name="T39" fmla="*/ 774 h 1648"/>
                <a:gd name="T40" fmla="*/ 1512 w 1856"/>
                <a:gd name="T41" fmla="*/ 355 h 1648"/>
                <a:gd name="T42" fmla="*/ 1760 w 1856"/>
                <a:gd name="T43" fmla="*/ 702 h 1648"/>
                <a:gd name="T44" fmla="*/ 1713 w 1856"/>
                <a:gd name="T45" fmla="*/ 779 h 1648"/>
                <a:gd name="T46" fmla="*/ 1760 w 1856"/>
                <a:gd name="T47" fmla="*/ 852 h 1648"/>
                <a:gd name="T48" fmla="*/ 135 w 1856"/>
                <a:gd name="T49" fmla="*/ 488 h 1648"/>
                <a:gd name="T50" fmla="*/ 165 w 1856"/>
                <a:gd name="T51" fmla="*/ 458 h 1648"/>
                <a:gd name="T52" fmla="*/ 291 w 1856"/>
                <a:gd name="T53" fmla="*/ 824 h 1648"/>
                <a:gd name="T54" fmla="*/ 100 w 1856"/>
                <a:gd name="T55" fmla="*/ 632 h 1648"/>
                <a:gd name="T56" fmla="*/ 879 w 1856"/>
                <a:gd name="T57" fmla="*/ 503 h 1648"/>
                <a:gd name="T58" fmla="*/ 1114 w 1856"/>
                <a:gd name="T59" fmla="*/ 594 h 1648"/>
                <a:gd name="T60" fmla="*/ 1114 w 1856"/>
                <a:gd name="T61" fmla="*/ 594 h 1648"/>
                <a:gd name="T62" fmla="*/ 1291 w 1856"/>
                <a:gd name="T63" fmla="*/ 254 h 1648"/>
                <a:gd name="T64" fmla="*/ 1335 w 1856"/>
                <a:gd name="T65" fmla="*/ 256 h 1648"/>
                <a:gd name="T66" fmla="*/ 1477 w 1856"/>
                <a:gd name="T67" fmla="*/ 296 h 1648"/>
                <a:gd name="T68" fmla="*/ 1477 w 1856"/>
                <a:gd name="T69" fmla="*/ 296 h 1648"/>
                <a:gd name="T70" fmla="*/ 1608 w 1856"/>
                <a:gd name="T71" fmla="*/ 229 h 1648"/>
                <a:gd name="T72" fmla="*/ 1613 w 1856"/>
                <a:gd name="T73" fmla="*/ 60 h 1648"/>
                <a:gd name="T74" fmla="*/ 1664 w 1856"/>
                <a:gd name="T75" fmla="*/ 188 h 1648"/>
                <a:gd name="T76" fmla="*/ 1664 w 1856"/>
                <a:gd name="T77" fmla="*/ 188 h 1648"/>
                <a:gd name="T78" fmla="*/ 512 w 1856"/>
                <a:gd name="T79" fmla="*/ 1178 h 1648"/>
                <a:gd name="T80" fmla="*/ 738 w 1856"/>
                <a:gd name="T81" fmla="*/ 1275 h 1648"/>
                <a:gd name="T82" fmla="*/ 694 w 1856"/>
                <a:gd name="T83" fmla="*/ 1275 h 1648"/>
                <a:gd name="T84" fmla="*/ 264 w 1856"/>
                <a:gd name="T85" fmla="*/ 1178 h 1648"/>
                <a:gd name="T86" fmla="*/ 264 w 1856"/>
                <a:gd name="T87" fmla="*/ 1275 h 1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56" h="1648">
                  <a:moveTo>
                    <a:pt x="863" y="1648"/>
                  </a:moveTo>
                  <a:cubicBezTo>
                    <a:pt x="159" y="1648"/>
                    <a:pt x="159" y="1648"/>
                    <a:pt x="159" y="1648"/>
                  </a:cubicBezTo>
                  <a:cubicBezTo>
                    <a:pt x="72" y="1648"/>
                    <a:pt x="0" y="1576"/>
                    <a:pt x="0" y="1488"/>
                  </a:cubicBezTo>
                  <a:cubicBezTo>
                    <a:pt x="0" y="1401"/>
                    <a:pt x="72" y="1329"/>
                    <a:pt x="159" y="1329"/>
                  </a:cubicBezTo>
                  <a:cubicBezTo>
                    <a:pt x="863" y="1329"/>
                    <a:pt x="863" y="1329"/>
                    <a:pt x="863" y="1329"/>
                  </a:cubicBezTo>
                  <a:cubicBezTo>
                    <a:pt x="951" y="1329"/>
                    <a:pt x="1023" y="1401"/>
                    <a:pt x="1023" y="1488"/>
                  </a:cubicBezTo>
                  <a:cubicBezTo>
                    <a:pt x="1023" y="1576"/>
                    <a:pt x="951" y="1648"/>
                    <a:pt x="863" y="1648"/>
                  </a:cubicBezTo>
                  <a:close/>
                  <a:moveTo>
                    <a:pt x="159" y="1373"/>
                  </a:moveTo>
                  <a:cubicBezTo>
                    <a:pt x="96" y="1373"/>
                    <a:pt x="44" y="1425"/>
                    <a:pt x="44" y="1488"/>
                  </a:cubicBezTo>
                  <a:cubicBezTo>
                    <a:pt x="44" y="1552"/>
                    <a:pt x="96" y="1604"/>
                    <a:pt x="159" y="1604"/>
                  </a:cubicBezTo>
                  <a:cubicBezTo>
                    <a:pt x="863" y="1604"/>
                    <a:pt x="863" y="1604"/>
                    <a:pt x="863" y="1604"/>
                  </a:cubicBezTo>
                  <a:cubicBezTo>
                    <a:pt x="927" y="1604"/>
                    <a:pt x="979" y="1552"/>
                    <a:pt x="979" y="1488"/>
                  </a:cubicBezTo>
                  <a:cubicBezTo>
                    <a:pt x="979" y="1425"/>
                    <a:pt x="927" y="1373"/>
                    <a:pt x="863" y="1373"/>
                  </a:cubicBezTo>
                  <a:lnTo>
                    <a:pt x="159" y="1373"/>
                  </a:lnTo>
                  <a:close/>
                  <a:moveTo>
                    <a:pt x="1782" y="661"/>
                  </a:moveTo>
                  <a:cubicBezTo>
                    <a:pt x="1782" y="147"/>
                    <a:pt x="1782" y="147"/>
                    <a:pt x="1782" y="147"/>
                  </a:cubicBezTo>
                  <a:cubicBezTo>
                    <a:pt x="1782" y="147"/>
                    <a:pt x="1782" y="147"/>
                    <a:pt x="1782" y="146"/>
                  </a:cubicBezTo>
                  <a:cubicBezTo>
                    <a:pt x="1782" y="140"/>
                    <a:pt x="1780" y="133"/>
                    <a:pt x="1775" y="129"/>
                  </a:cubicBezTo>
                  <a:cubicBezTo>
                    <a:pt x="1648" y="6"/>
                    <a:pt x="1648" y="6"/>
                    <a:pt x="1648" y="6"/>
                  </a:cubicBezTo>
                  <a:cubicBezTo>
                    <a:pt x="1648" y="6"/>
                    <a:pt x="1648" y="6"/>
                    <a:pt x="1648" y="6"/>
                  </a:cubicBezTo>
                  <a:cubicBezTo>
                    <a:pt x="1647" y="5"/>
                    <a:pt x="1646" y="5"/>
                    <a:pt x="1645" y="4"/>
                  </a:cubicBezTo>
                  <a:cubicBezTo>
                    <a:pt x="1645" y="4"/>
                    <a:pt x="1645" y="4"/>
                    <a:pt x="1645" y="4"/>
                  </a:cubicBezTo>
                  <a:cubicBezTo>
                    <a:pt x="1645" y="4"/>
                    <a:pt x="1645" y="4"/>
                    <a:pt x="1645" y="4"/>
                  </a:cubicBezTo>
                  <a:cubicBezTo>
                    <a:pt x="1644" y="3"/>
                    <a:pt x="1643" y="3"/>
                    <a:pt x="1642" y="2"/>
                  </a:cubicBezTo>
                  <a:cubicBezTo>
                    <a:pt x="1642" y="2"/>
                    <a:pt x="1642" y="2"/>
                    <a:pt x="1642" y="2"/>
                  </a:cubicBezTo>
                  <a:cubicBezTo>
                    <a:pt x="1641" y="2"/>
                    <a:pt x="1640" y="1"/>
                    <a:pt x="1639" y="1"/>
                  </a:cubicBezTo>
                  <a:cubicBezTo>
                    <a:pt x="1639" y="1"/>
                    <a:pt x="1638" y="1"/>
                    <a:pt x="1638" y="1"/>
                  </a:cubicBezTo>
                  <a:cubicBezTo>
                    <a:pt x="1637" y="1"/>
                    <a:pt x="1637" y="0"/>
                    <a:pt x="1636" y="0"/>
                  </a:cubicBezTo>
                  <a:cubicBezTo>
                    <a:pt x="1635" y="0"/>
                    <a:pt x="1635" y="0"/>
                    <a:pt x="1635" y="0"/>
                  </a:cubicBezTo>
                  <a:cubicBezTo>
                    <a:pt x="1634" y="0"/>
                    <a:pt x="1633" y="0"/>
                    <a:pt x="1632" y="0"/>
                  </a:cubicBezTo>
                  <a:cubicBezTo>
                    <a:pt x="1632" y="0"/>
                    <a:pt x="1632" y="0"/>
                    <a:pt x="1632" y="0"/>
                  </a:cubicBezTo>
                  <a:cubicBezTo>
                    <a:pt x="1631" y="0"/>
                    <a:pt x="1630" y="0"/>
                    <a:pt x="1629" y="0"/>
                  </a:cubicBezTo>
                  <a:cubicBezTo>
                    <a:pt x="1628" y="1"/>
                    <a:pt x="1628" y="1"/>
                    <a:pt x="1628" y="1"/>
                  </a:cubicBezTo>
                  <a:cubicBezTo>
                    <a:pt x="1627" y="1"/>
                    <a:pt x="1627" y="1"/>
                    <a:pt x="1627" y="1"/>
                  </a:cubicBezTo>
                  <a:cubicBezTo>
                    <a:pt x="192" y="412"/>
                    <a:pt x="192" y="412"/>
                    <a:pt x="192" y="412"/>
                  </a:cubicBezTo>
                  <a:cubicBezTo>
                    <a:pt x="179" y="396"/>
                    <a:pt x="158" y="385"/>
                    <a:pt x="135" y="385"/>
                  </a:cubicBezTo>
                  <a:cubicBezTo>
                    <a:pt x="95" y="385"/>
                    <a:pt x="62" y="418"/>
                    <a:pt x="62" y="458"/>
                  </a:cubicBezTo>
                  <a:cubicBezTo>
                    <a:pt x="62" y="499"/>
                    <a:pt x="95" y="532"/>
                    <a:pt x="135" y="532"/>
                  </a:cubicBezTo>
                  <a:cubicBezTo>
                    <a:pt x="138" y="532"/>
                    <a:pt x="141" y="532"/>
                    <a:pt x="144" y="531"/>
                  </a:cubicBezTo>
                  <a:cubicBezTo>
                    <a:pt x="167" y="588"/>
                    <a:pt x="167" y="588"/>
                    <a:pt x="167" y="588"/>
                  </a:cubicBezTo>
                  <a:cubicBezTo>
                    <a:pt x="81" y="588"/>
                    <a:pt x="81" y="588"/>
                    <a:pt x="81" y="588"/>
                  </a:cubicBezTo>
                  <a:cubicBezTo>
                    <a:pt x="67" y="588"/>
                    <a:pt x="56" y="600"/>
                    <a:pt x="56" y="614"/>
                  </a:cubicBezTo>
                  <a:cubicBezTo>
                    <a:pt x="56" y="784"/>
                    <a:pt x="56" y="784"/>
                    <a:pt x="56" y="784"/>
                  </a:cubicBezTo>
                  <a:cubicBezTo>
                    <a:pt x="139" y="868"/>
                    <a:pt x="139" y="868"/>
                    <a:pt x="139" y="868"/>
                  </a:cubicBezTo>
                  <a:cubicBezTo>
                    <a:pt x="335" y="868"/>
                    <a:pt x="335" y="868"/>
                    <a:pt x="335" y="868"/>
                  </a:cubicBezTo>
                  <a:cubicBezTo>
                    <a:pt x="335" y="588"/>
                    <a:pt x="335" y="588"/>
                    <a:pt x="335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5"/>
                    <a:pt x="212" y="583"/>
                    <a:pt x="211" y="580"/>
                  </a:cubicBezTo>
                  <a:cubicBezTo>
                    <a:pt x="184" y="513"/>
                    <a:pt x="184" y="513"/>
                    <a:pt x="184" y="513"/>
                  </a:cubicBezTo>
                  <a:cubicBezTo>
                    <a:pt x="199" y="500"/>
                    <a:pt x="209" y="480"/>
                    <a:pt x="209" y="458"/>
                  </a:cubicBezTo>
                  <a:cubicBezTo>
                    <a:pt x="209" y="457"/>
                    <a:pt x="209" y="455"/>
                    <a:pt x="208" y="454"/>
                  </a:cubicBezTo>
                  <a:cubicBezTo>
                    <a:pt x="1479" y="89"/>
                    <a:pt x="1479" y="89"/>
                    <a:pt x="1479" y="89"/>
                  </a:cubicBezTo>
                  <a:cubicBezTo>
                    <a:pt x="676" y="574"/>
                    <a:pt x="676" y="574"/>
                    <a:pt x="676" y="574"/>
                  </a:cubicBezTo>
                  <a:cubicBezTo>
                    <a:pt x="707" y="607"/>
                    <a:pt x="707" y="607"/>
                    <a:pt x="707" y="607"/>
                  </a:cubicBezTo>
                  <a:cubicBezTo>
                    <a:pt x="812" y="544"/>
                    <a:pt x="812" y="544"/>
                    <a:pt x="812" y="544"/>
                  </a:cubicBezTo>
                  <a:cubicBezTo>
                    <a:pt x="808" y="711"/>
                    <a:pt x="808" y="711"/>
                    <a:pt x="808" y="711"/>
                  </a:cubicBezTo>
                  <a:cubicBezTo>
                    <a:pt x="851" y="755"/>
                    <a:pt x="851" y="755"/>
                    <a:pt x="851" y="755"/>
                  </a:cubicBezTo>
                  <a:cubicBezTo>
                    <a:pt x="856" y="540"/>
                    <a:pt x="856" y="540"/>
                    <a:pt x="856" y="540"/>
                  </a:cubicBezTo>
                  <a:cubicBezTo>
                    <a:pt x="1050" y="641"/>
                    <a:pt x="1050" y="641"/>
                    <a:pt x="1050" y="641"/>
                  </a:cubicBezTo>
                  <a:cubicBezTo>
                    <a:pt x="869" y="774"/>
                    <a:pt x="869" y="774"/>
                    <a:pt x="869" y="774"/>
                  </a:cubicBezTo>
                  <a:cubicBezTo>
                    <a:pt x="900" y="806"/>
                    <a:pt x="900" y="806"/>
                    <a:pt x="900" y="806"/>
                  </a:cubicBezTo>
                  <a:cubicBezTo>
                    <a:pt x="1512" y="355"/>
                    <a:pt x="1512" y="355"/>
                    <a:pt x="1512" y="355"/>
                  </a:cubicBezTo>
                  <a:cubicBezTo>
                    <a:pt x="1512" y="355"/>
                    <a:pt x="1512" y="355"/>
                    <a:pt x="1512" y="355"/>
                  </a:cubicBezTo>
                  <a:cubicBezTo>
                    <a:pt x="1738" y="188"/>
                    <a:pt x="1738" y="188"/>
                    <a:pt x="1738" y="188"/>
                  </a:cubicBezTo>
                  <a:cubicBezTo>
                    <a:pt x="1738" y="680"/>
                    <a:pt x="1738" y="680"/>
                    <a:pt x="1738" y="680"/>
                  </a:cubicBezTo>
                  <a:cubicBezTo>
                    <a:pt x="1738" y="693"/>
                    <a:pt x="1747" y="702"/>
                    <a:pt x="1760" y="702"/>
                  </a:cubicBezTo>
                  <a:cubicBezTo>
                    <a:pt x="1789" y="702"/>
                    <a:pt x="1812" y="726"/>
                    <a:pt x="1812" y="755"/>
                  </a:cubicBezTo>
                  <a:cubicBezTo>
                    <a:pt x="1812" y="784"/>
                    <a:pt x="1789" y="808"/>
                    <a:pt x="1760" y="808"/>
                  </a:cubicBezTo>
                  <a:cubicBezTo>
                    <a:pt x="1740" y="808"/>
                    <a:pt x="1722" y="797"/>
                    <a:pt x="1713" y="779"/>
                  </a:cubicBezTo>
                  <a:cubicBezTo>
                    <a:pt x="1707" y="768"/>
                    <a:pt x="1694" y="764"/>
                    <a:pt x="1683" y="770"/>
                  </a:cubicBezTo>
                  <a:cubicBezTo>
                    <a:pt x="1672" y="775"/>
                    <a:pt x="1668" y="789"/>
                    <a:pt x="1674" y="800"/>
                  </a:cubicBezTo>
                  <a:cubicBezTo>
                    <a:pt x="1690" y="832"/>
                    <a:pt x="1723" y="852"/>
                    <a:pt x="1760" y="852"/>
                  </a:cubicBezTo>
                  <a:cubicBezTo>
                    <a:pt x="1813" y="852"/>
                    <a:pt x="1856" y="808"/>
                    <a:pt x="1856" y="755"/>
                  </a:cubicBezTo>
                  <a:cubicBezTo>
                    <a:pt x="1856" y="709"/>
                    <a:pt x="1824" y="671"/>
                    <a:pt x="1782" y="661"/>
                  </a:cubicBezTo>
                  <a:close/>
                  <a:moveTo>
                    <a:pt x="135" y="488"/>
                  </a:moveTo>
                  <a:cubicBezTo>
                    <a:pt x="119" y="488"/>
                    <a:pt x="106" y="475"/>
                    <a:pt x="106" y="458"/>
                  </a:cubicBezTo>
                  <a:cubicBezTo>
                    <a:pt x="106" y="442"/>
                    <a:pt x="119" y="429"/>
                    <a:pt x="135" y="429"/>
                  </a:cubicBezTo>
                  <a:cubicBezTo>
                    <a:pt x="151" y="429"/>
                    <a:pt x="165" y="442"/>
                    <a:pt x="165" y="458"/>
                  </a:cubicBezTo>
                  <a:cubicBezTo>
                    <a:pt x="165" y="475"/>
                    <a:pt x="151" y="488"/>
                    <a:pt x="135" y="488"/>
                  </a:cubicBezTo>
                  <a:close/>
                  <a:moveTo>
                    <a:pt x="291" y="632"/>
                  </a:moveTo>
                  <a:cubicBezTo>
                    <a:pt x="291" y="824"/>
                    <a:pt x="291" y="824"/>
                    <a:pt x="291" y="824"/>
                  </a:cubicBezTo>
                  <a:cubicBezTo>
                    <a:pt x="157" y="824"/>
                    <a:pt x="157" y="824"/>
                    <a:pt x="157" y="824"/>
                  </a:cubicBezTo>
                  <a:cubicBezTo>
                    <a:pt x="100" y="766"/>
                    <a:pt x="100" y="766"/>
                    <a:pt x="100" y="766"/>
                  </a:cubicBezTo>
                  <a:cubicBezTo>
                    <a:pt x="100" y="632"/>
                    <a:pt x="100" y="632"/>
                    <a:pt x="100" y="632"/>
                  </a:cubicBezTo>
                  <a:lnTo>
                    <a:pt x="291" y="632"/>
                  </a:lnTo>
                  <a:close/>
                  <a:moveTo>
                    <a:pt x="1070" y="601"/>
                  </a:moveTo>
                  <a:cubicBezTo>
                    <a:pt x="879" y="503"/>
                    <a:pt x="879" y="503"/>
                    <a:pt x="879" y="503"/>
                  </a:cubicBezTo>
                  <a:cubicBezTo>
                    <a:pt x="1070" y="388"/>
                    <a:pt x="1070" y="388"/>
                    <a:pt x="1070" y="388"/>
                  </a:cubicBezTo>
                  <a:lnTo>
                    <a:pt x="1070" y="601"/>
                  </a:lnTo>
                  <a:close/>
                  <a:moveTo>
                    <a:pt x="1114" y="594"/>
                  </a:moveTo>
                  <a:cubicBezTo>
                    <a:pt x="1114" y="387"/>
                    <a:pt x="1114" y="387"/>
                    <a:pt x="1114" y="387"/>
                  </a:cubicBezTo>
                  <a:cubicBezTo>
                    <a:pt x="1272" y="477"/>
                    <a:pt x="1272" y="477"/>
                    <a:pt x="1272" y="477"/>
                  </a:cubicBezTo>
                  <a:lnTo>
                    <a:pt x="1114" y="594"/>
                  </a:lnTo>
                  <a:close/>
                  <a:moveTo>
                    <a:pt x="1291" y="437"/>
                  </a:moveTo>
                  <a:cubicBezTo>
                    <a:pt x="1135" y="348"/>
                    <a:pt x="1135" y="348"/>
                    <a:pt x="1135" y="348"/>
                  </a:cubicBezTo>
                  <a:cubicBezTo>
                    <a:pt x="1291" y="254"/>
                    <a:pt x="1291" y="254"/>
                    <a:pt x="1291" y="254"/>
                  </a:cubicBezTo>
                  <a:lnTo>
                    <a:pt x="1291" y="437"/>
                  </a:lnTo>
                  <a:close/>
                  <a:moveTo>
                    <a:pt x="1335" y="431"/>
                  </a:moveTo>
                  <a:cubicBezTo>
                    <a:pt x="1335" y="256"/>
                    <a:pt x="1335" y="256"/>
                    <a:pt x="1335" y="256"/>
                  </a:cubicBezTo>
                  <a:cubicBezTo>
                    <a:pt x="1461" y="338"/>
                    <a:pt x="1461" y="338"/>
                    <a:pt x="1461" y="338"/>
                  </a:cubicBezTo>
                  <a:lnTo>
                    <a:pt x="1335" y="431"/>
                  </a:lnTo>
                  <a:close/>
                  <a:moveTo>
                    <a:pt x="1477" y="296"/>
                  </a:moveTo>
                  <a:cubicBezTo>
                    <a:pt x="1354" y="216"/>
                    <a:pt x="1354" y="216"/>
                    <a:pt x="1354" y="216"/>
                  </a:cubicBezTo>
                  <a:cubicBezTo>
                    <a:pt x="1477" y="142"/>
                    <a:pt x="1477" y="142"/>
                    <a:pt x="1477" y="142"/>
                  </a:cubicBezTo>
                  <a:lnTo>
                    <a:pt x="1477" y="296"/>
                  </a:lnTo>
                  <a:close/>
                  <a:moveTo>
                    <a:pt x="1521" y="293"/>
                  </a:moveTo>
                  <a:cubicBezTo>
                    <a:pt x="1521" y="159"/>
                    <a:pt x="1521" y="159"/>
                    <a:pt x="1521" y="159"/>
                  </a:cubicBezTo>
                  <a:cubicBezTo>
                    <a:pt x="1608" y="229"/>
                    <a:pt x="1608" y="229"/>
                    <a:pt x="1608" y="229"/>
                  </a:cubicBezTo>
                  <a:lnTo>
                    <a:pt x="1521" y="293"/>
                  </a:lnTo>
                  <a:close/>
                  <a:moveTo>
                    <a:pt x="1530" y="110"/>
                  </a:moveTo>
                  <a:cubicBezTo>
                    <a:pt x="1613" y="60"/>
                    <a:pt x="1613" y="60"/>
                    <a:pt x="1613" y="60"/>
                  </a:cubicBezTo>
                  <a:cubicBezTo>
                    <a:pt x="1620" y="182"/>
                    <a:pt x="1620" y="182"/>
                    <a:pt x="1620" y="182"/>
                  </a:cubicBezTo>
                  <a:lnTo>
                    <a:pt x="1530" y="110"/>
                  </a:lnTo>
                  <a:close/>
                  <a:moveTo>
                    <a:pt x="1664" y="188"/>
                  </a:moveTo>
                  <a:cubicBezTo>
                    <a:pt x="1658" y="77"/>
                    <a:pt x="1658" y="77"/>
                    <a:pt x="1658" y="77"/>
                  </a:cubicBezTo>
                  <a:cubicBezTo>
                    <a:pt x="1726" y="142"/>
                    <a:pt x="1726" y="142"/>
                    <a:pt x="1726" y="142"/>
                  </a:cubicBezTo>
                  <a:lnTo>
                    <a:pt x="1664" y="188"/>
                  </a:lnTo>
                  <a:close/>
                  <a:moveTo>
                    <a:pt x="556" y="1275"/>
                  </a:moveTo>
                  <a:cubicBezTo>
                    <a:pt x="556" y="1178"/>
                    <a:pt x="556" y="1178"/>
                    <a:pt x="556" y="1178"/>
                  </a:cubicBezTo>
                  <a:cubicBezTo>
                    <a:pt x="512" y="1178"/>
                    <a:pt x="512" y="1178"/>
                    <a:pt x="512" y="1178"/>
                  </a:cubicBezTo>
                  <a:cubicBezTo>
                    <a:pt x="512" y="1275"/>
                    <a:pt x="512" y="1275"/>
                    <a:pt x="512" y="1275"/>
                  </a:cubicBezTo>
                  <a:lnTo>
                    <a:pt x="556" y="1275"/>
                  </a:lnTo>
                  <a:close/>
                  <a:moveTo>
                    <a:pt x="738" y="1275"/>
                  </a:moveTo>
                  <a:cubicBezTo>
                    <a:pt x="738" y="1178"/>
                    <a:pt x="738" y="1178"/>
                    <a:pt x="738" y="1178"/>
                  </a:cubicBezTo>
                  <a:cubicBezTo>
                    <a:pt x="694" y="1178"/>
                    <a:pt x="694" y="1178"/>
                    <a:pt x="694" y="1178"/>
                  </a:cubicBezTo>
                  <a:cubicBezTo>
                    <a:pt x="694" y="1275"/>
                    <a:pt x="694" y="1275"/>
                    <a:pt x="694" y="1275"/>
                  </a:cubicBezTo>
                  <a:lnTo>
                    <a:pt x="738" y="1275"/>
                  </a:lnTo>
                  <a:close/>
                  <a:moveTo>
                    <a:pt x="264" y="1275"/>
                  </a:moveTo>
                  <a:cubicBezTo>
                    <a:pt x="264" y="1178"/>
                    <a:pt x="264" y="1178"/>
                    <a:pt x="264" y="1178"/>
                  </a:cubicBezTo>
                  <a:cubicBezTo>
                    <a:pt x="220" y="1178"/>
                    <a:pt x="220" y="1178"/>
                    <a:pt x="220" y="1178"/>
                  </a:cubicBezTo>
                  <a:cubicBezTo>
                    <a:pt x="220" y="1275"/>
                    <a:pt x="220" y="1275"/>
                    <a:pt x="220" y="1275"/>
                  </a:cubicBezTo>
                  <a:lnTo>
                    <a:pt x="264" y="1275"/>
                  </a:lnTo>
                  <a:close/>
                </a:path>
              </a:pathLst>
            </a:custGeom>
            <a:solidFill>
              <a:srgbClr val="5B9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x-non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6" name="Прямоугольник 55">
            <a:extLst>
              <a:ext uri="{FF2B5EF4-FFF2-40B4-BE49-F238E27FC236}">
                <a16:creationId xmlns:c="http://schemas.openxmlformats.org/drawingml/2006/chart" xmlns:cdr="http://schemas.openxmlformats.org/drawingml/2006/chartDrawing" xmlns="" xmlns:a16="http://schemas.microsoft.com/office/drawing/2014/main" xmlns:lc="http://schemas.openxmlformats.org/drawingml/2006/lockedCanvas" id="{A06070DD-FF79-4B15-B879-FFB6336F6116}"/>
              </a:ext>
            </a:extLst>
          </p:cNvPr>
          <p:cNvSpPr/>
          <p:nvPr/>
        </p:nvSpPr>
        <p:spPr>
          <a:xfrm>
            <a:off x="7977106" y="4970074"/>
            <a:ext cx="3316713" cy="53887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kk-KZ" sz="1400" dirty="0" smtClean="0">
                <a:latin typeface="Arial" pitchFamily="34" charset="0"/>
                <a:cs typeface="Arial" pitchFamily="34" charset="0"/>
              </a:rPr>
              <a:t>   </a:t>
            </a:r>
            <a:endParaRPr lang="ru-RU" sz="1400" dirty="0" smtClean="0">
              <a:latin typeface="Arial" pitchFamily="34" charset="0"/>
              <a:cs typeface="Arial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 Строительство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–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15%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c="http://schemas.openxmlformats.org/drawingml/2006/chart" xmlns:cdr="http://schemas.openxmlformats.org/drawingml/2006/chartDrawing" xmlns="" xmlns:a16="http://schemas.microsoft.com/office/drawing/2014/main" xmlns:lc="http://schemas.openxmlformats.org/drawingml/2006/lockedCanvas" id="{B8931F02-2FF0-47D1-85F0-D9F06A29ED1D}"/>
              </a:ext>
            </a:extLst>
          </p:cNvPr>
          <p:cNvSpPr/>
          <p:nvPr/>
        </p:nvSpPr>
        <p:spPr>
          <a:xfrm>
            <a:off x="7937453" y="4487530"/>
            <a:ext cx="5497764" cy="53887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Горно-металлургический комплекс –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16,2%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1912438" y="6567366"/>
            <a:ext cx="263214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k-KZ" sz="105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536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6114" name="Объект 4" hidden="1">
            <a:extLst>
              <a:ext uri="{FF2B5EF4-FFF2-40B4-BE49-F238E27FC236}">
                <a16:creationId xmlns="" xmlns:a16="http://schemas.microsoft.com/office/drawing/2014/main" id="{78A9CD0E-75AB-4DEF-A4D2-6AE619DF59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674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1200" dirty="0">
              <a:solidFill>
                <a:prstClr val="white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=""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18852" y="-121208"/>
            <a:ext cx="11269663" cy="6283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endParaRPr lang="ru-RU" alt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Безопасность и охрана труда: </a:t>
            </a:r>
            <a:r>
              <a:rPr lang="ru-RU" alt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Государственный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инспекционный</a:t>
            </a: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контроль</a:t>
            </a:r>
          </a:p>
        </p:txBody>
      </p:sp>
      <p:cxnSp>
        <p:nvCxnSpPr>
          <p:cNvPr id="233" name="Прямая соединительная линия 232">
            <a:extLst>
              <a:ext uri="{FF2B5EF4-FFF2-40B4-BE49-F238E27FC236}">
                <a16:creationId xmlns=""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318852" y="615950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olidFill>
                <a:prstClr val="white"/>
              </a:solidFill>
            </a:endParaRPr>
          </a:p>
        </p:txBody>
      </p:sp>
      <p:graphicFrame>
        <p:nvGraphicFramePr>
          <p:cNvPr id="44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433042"/>
              </p:ext>
            </p:extLst>
          </p:nvPr>
        </p:nvGraphicFramePr>
        <p:xfrm>
          <a:off x="389705" y="5398877"/>
          <a:ext cx="5318648" cy="1578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6C75D441-7F3F-4CAF-8C15-2053172B378A}"/>
              </a:ext>
            </a:extLst>
          </p:cNvPr>
          <p:cNvSpPr/>
          <p:nvPr/>
        </p:nvSpPr>
        <p:spPr>
          <a:xfrm>
            <a:off x="5650731" y="1111768"/>
            <a:ext cx="6079637" cy="4977890"/>
          </a:xfrm>
          <a:prstGeom prst="rect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5" name="Прямая со стрелкой 44">
            <a:extLst>
              <a:ext uri="{FF2B5EF4-FFF2-40B4-BE49-F238E27FC236}">
                <a16:creationId xmlns="" xmlns:a16="http://schemas.microsoft.com/office/drawing/2014/main" id="{66BE5E66-272B-4373-ABBF-FF4F5E14DA52}"/>
              </a:ext>
            </a:extLst>
          </p:cNvPr>
          <p:cNvCxnSpPr>
            <a:cxnSpLocks/>
          </p:cNvCxnSpPr>
          <p:nvPr/>
        </p:nvCxnSpPr>
        <p:spPr>
          <a:xfrm flipH="1">
            <a:off x="5650731" y="1672207"/>
            <a:ext cx="6084000" cy="0"/>
          </a:xfrm>
          <a:prstGeom prst="straightConnector1">
            <a:avLst/>
          </a:prstGeom>
          <a:ln w="3810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AC13F308-D332-4ACC-8EA8-9FACC63D95A1}"/>
              </a:ext>
            </a:extLst>
          </p:cNvPr>
          <p:cNvSpPr/>
          <p:nvPr/>
        </p:nvSpPr>
        <p:spPr>
          <a:xfrm>
            <a:off x="247135" y="1111768"/>
            <a:ext cx="5634603" cy="4977891"/>
          </a:xfrm>
          <a:prstGeom prst="homePlate">
            <a:avLst>
              <a:gd name="adj" fmla="val 13243"/>
            </a:avLst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 rtlCol="0" anchor="t" anchorCtr="0"/>
          <a:lstStyle/>
          <a:p>
            <a:pPr algn="ctr"/>
            <a:endParaRPr lang="en-US" sz="140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="" xmlns:a16="http://schemas.microsoft.com/office/drawing/2014/main" id="{631CA616-FA50-4BF4-B629-3CD1EA951D1C}"/>
              </a:ext>
            </a:extLst>
          </p:cNvPr>
          <p:cNvSpPr/>
          <p:nvPr/>
        </p:nvSpPr>
        <p:spPr>
          <a:xfrm>
            <a:off x="569649" y="1865041"/>
            <a:ext cx="4608000" cy="4064530"/>
          </a:xfrm>
          <a:prstGeom prst="roundRect">
            <a:avLst>
              <a:gd name="adj" fmla="val 483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3" name="Прямая со стрелкой 72">
            <a:extLst>
              <a:ext uri="{FF2B5EF4-FFF2-40B4-BE49-F238E27FC236}">
                <a16:creationId xmlns="" xmlns:a16="http://schemas.microsoft.com/office/drawing/2014/main" id="{08E05A73-4130-47EB-A7D5-86DDBA0A46D8}"/>
              </a:ext>
            </a:extLst>
          </p:cNvPr>
          <p:cNvCxnSpPr>
            <a:cxnSpLocks/>
          </p:cNvCxnSpPr>
          <p:nvPr/>
        </p:nvCxnSpPr>
        <p:spPr>
          <a:xfrm flipH="1">
            <a:off x="434770" y="1672207"/>
            <a:ext cx="5220000" cy="0"/>
          </a:xfrm>
          <a:prstGeom prst="straightConnector1">
            <a:avLst/>
          </a:prstGeom>
          <a:ln w="38100">
            <a:solidFill>
              <a:srgbClr val="295E7E"/>
            </a:solidFill>
            <a:round/>
            <a:headEnd type="stealth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Группа 77">
            <a:extLst>
              <a:ext uri="{FF2B5EF4-FFF2-40B4-BE49-F238E27FC236}">
                <a16:creationId xmlns="" xmlns:a16="http://schemas.microsoft.com/office/drawing/2014/main" id="{4A1B1C71-BCB5-4990-A330-DB009E45B49D}"/>
              </a:ext>
            </a:extLst>
          </p:cNvPr>
          <p:cNvGrpSpPr/>
          <p:nvPr/>
        </p:nvGrpSpPr>
        <p:grpSpPr>
          <a:xfrm>
            <a:off x="6174852" y="2643244"/>
            <a:ext cx="5075402" cy="526468"/>
            <a:chOff x="6241527" y="3182889"/>
            <a:chExt cx="5075402" cy="526468"/>
          </a:xfrm>
        </p:grpSpPr>
        <p:sp>
          <p:nvSpPr>
            <p:cNvPr id="79" name="Shape 5644">
              <a:extLst>
                <a:ext uri="{FF2B5EF4-FFF2-40B4-BE49-F238E27FC236}">
                  <a16:creationId xmlns="" xmlns:a16="http://schemas.microsoft.com/office/drawing/2014/main" id="{567E5138-E837-4DA0-AC43-25373BF193A9}"/>
                </a:ext>
              </a:extLst>
            </p:cNvPr>
            <p:cNvSpPr/>
            <p:nvPr/>
          </p:nvSpPr>
          <p:spPr>
            <a:xfrm>
              <a:off x="6241527" y="3307485"/>
              <a:ext cx="324000" cy="2772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46" y="15585"/>
                  </a:moveTo>
                  <a:cubicBezTo>
                    <a:pt x="9969" y="15585"/>
                    <a:pt x="9969" y="15585"/>
                    <a:pt x="9969" y="15585"/>
                  </a:cubicBezTo>
                  <a:cubicBezTo>
                    <a:pt x="9969" y="17772"/>
                    <a:pt x="9969" y="17772"/>
                    <a:pt x="9969" y="17772"/>
                  </a:cubicBezTo>
                  <a:cubicBezTo>
                    <a:pt x="11215" y="17772"/>
                    <a:pt x="11215" y="17772"/>
                    <a:pt x="11215" y="17772"/>
                  </a:cubicBezTo>
                  <a:cubicBezTo>
                    <a:pt x="11215" y="21600"/>
                    <a:pt x="11215" y="21600"/>
                    <a:pt x="11215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17772"/>
                    <a:pt x="0" y="17772"/>
                    <a:pt x="0" y="17772"/>
                  </a:cubicBezTo>
                  <a:cubicBezTo>
                    <a:pt x="1246" y="17772"/>
                    <a:pt x="1246" y="17772"/>
                    <a:pt x="1246" y="17772"/>
                  </a:cubicBezTo>
                  <a:cubicBezTo>
                    <a:pt x="1246" y="15585"/>
                    <a:pt x="1246" y="15585"/>
                    <a:pt x="1246" y="15585"/>
                  </a:cubicBezTo>
                  <a:close/>
                  <a:moveTo>
                    <a:pt x="21600" y="10663"/>
                  </a:moveTo>
                  <a:cubicBezTo>
                    <a:pt x="21185" y="3828"/>
                    <a:pt x="21185" y="3828"/>
                    <a:pt x="21185" y="3828"/>
                  </a:cubicBezTo>
                  <a:cubicBezTo>
                    <a:pt x="18069" y="7929"/>
                    <a:pt x="18069" y="7929"/>
                    <a:pt x="18069" y="7929"/>
                  </a:cubicBezTo>
                  <a:cubicBezTo>
                    <a:pt x="14538" y="8476"/>
                    <a:pt x="14538" y="8476"/>
                    <a:pt x="14538" y="8476"/>
                  </a:cubicBezTo>
                  <a:cubicBezTo>
                    <a:pt x="13500" y="9296"/>
                    <a:pt x="13500" y="9296"/>
                    <a:pt x="13500" y="9296"/>
                  </a:cubicBezTo>
                  <a:cubicBezTo>
                    <a:pt x="14331" y="9843"/>
                    <a:pt x="14331" y="9843"/>
                    <a:pt x="14331" y="9843"/>
                  </a:cubicBezTo>
                  <a:cubicBezTo>
                    <a:pt x="14123" y="10116"/>
                    <a:pt x="14123" y="10116"/>
                    <a:pt x="14123" y="10116"/>
                  </a:cubicBezTo>
                  <a:cubicBezTo>
                    <a:pt x="12462" y="9296"/>
                    <a:pt x="12462" y="9296"/>
                    <a:pt x="12462" y="9296"/>
                  </a:cubicBezTo>
                  <a:cubicBezTo>
                    <a:pt x="12669" y="8749"/>
                    <a:pt x="12669" y="8749"/>
                    <a:pt x="12669" y="8749"/>
                  </a:cubicBezTo>
                  <a:cubicBezTo>
                    <a:pt x="11423" y="7929"/>
                    <a:pt x="11423" y="7929"/>
                    <a:pt x="11423" y="7929"/>
                  </a:cubicBezTo>
                  <a:cubicBezTo>
                    <a:pt x="11215" y="8476"/>
                    <a:pt x="11215" y="8476"/>
                    <a:pt x="11215" y="8476"/>
                  </a:cubicBezTo>
                  <a:cubicBezTo>
                    <a:pt x="10592" y="8203"/>
                    <a:pt x="10592" y="8203"/>
                    <a:pt x="10592" y="8203"/>
                  </a:cubicBezTo>
                  <a:cubicBezTo>
                    <a:pt x="10800" y="7109"/>
                    <a:pt x="10800" y="7109"/>
                    <a:pt x="10800" y="7109"/>
                  </a:cubicBezTo>
                  <a:cubicBezTo>
                    <a:pt x="9762" y="6289"/>
                    <a:pt x="9762" y="6289"/>
                    <a:pt x="9762" y="6289"/>
                  </a:cubicBezTo>
                  <a:cubicBezTo>
                    <a:pt x="10592" y="4101"/>
                    <a:pt x="10592" y="4101"/>
                    <a:pt x="10592" y="4101"/>
                  </a:cubicBezTo>
                  <a:cubicBezTo>
                    <a:pt x="11008" y="4648"/>
                    <a:pt x="11008" y="4648"/>
                    <a:pt x="11008" y="4648"/>
                  </a:cubicBezTo>
                  <a:cubicBezTo>
                    <a:pt x="11423" y="3281"/>
                    <a:pt x="11423" y="3281"/>
                    <a:pt x="11423" y="3281"/>
                  </a:cubicBezTo>
                  <a:cubicBezTo>
                    <a:pt x="6023" y="0"/>
                    <a:pt x="6023" y="0"/>
                    <a:pt x="6023" y="0"/>
                  </a:cubicBezTo>
                  <a:cubicBezTo>
                    <a:pt x="5608" y="1094"/>
                    <a:pt x="5608" y="1094"/>
                    <a:pt x="5608" y="1094"/>
                  </a:cubicBezTo>
                  <a:cubicBezTo>
                    <a:pt x="6231" y="1641"/>
                    <a:pt x="6231" y="1641"/>
                    <a:pt x="6231" y="1641"/>
                  </a:cubicBezTo>
                  <a:cubicBezTo>
                    <a:pt x="5192" y="4375"/>
                    <a:pt x="5192" y="4375"/>
                    <a:pt x="5192" y="4375"/>
                  </a:cubicBezTo>
                  <a:cubicBezTo>
                    <a:pt x="4777" y="4101"/>
                    <a:pt x="4777" y="4101"/>
                    <a:pt x="4777" y="4101"/>
                  </a:cubicBezTo>
                  <a:cubicBezTo>
                    <a:pt x="3738" y="6562"/>
                    <a:pt x="3738" y="6562"/>
                    <a:pt x="3738" y="6562"/>
                  </a:cubicBezTo>
                  <a:cubicBezTo>
                    <a:pt x="4154" y="6835"/>
                    <a:pt x="4154" y="6835"/>
                    <a:pt x="4154" y="6835"/>
                  </a:cubicBezTo>
                  <a:cubicBezTo>
                    <a:pt x="2908" y="10390"/>
                    <a:pt x="2908" y="10390"/>
                    <a:pt x="2908" y="10390"/>
                  </a:cubicBezTo>
                  <a:cubicBezTo>
                    <a:pt x="2492" y="10116"/>
                    <a:pt x="2492" y="10116"/>
                    <a:pt x="2492" y="10116"/>
                  </a:cubicBezTo>
                  <a:cubicBezTo>
                    <a:pt x="2077" y="11484"/>
                    <a:pt x="2077" y="11484"/>
                    <a:pt x="2077" y="11484"/>
                  </a:cubicBezTo>
                  <a:cubicBezTo>
                    <a:pt x="7477" y="14765"/>
                    <a:pt x="7477" y="14765"/>
                    <a:pt x="7477" y="14765"/>
                  </a:cubicBezTo>
                  <a:cubicBezTo>
                    <a:pt x="7892" y="13397"/>
                    <a:pt x="7892" y="13397"/>
                    <a:pt x="7892" y="13397"/>
                  </a:cubicBezTo>
                  <a:cubicBezTo>
                    <a:pt x="7269" y="13124"/>
                    <a:pt x="7269" y="13124"/>
                    <a:pt x="7269" y="13124"/>
                  </a:cubicBezTo>
                  <a:cubicBezTo>
                    <a:pt x="8308" y="10663"/>
                    <a:pt x="8308" y="10663"/>
                    <a:pt x="8308" y="10663"/>
                  </a:cubicBezTo>
                  <a:cubicBezTo>
                    <a:pt x="9346" y="11484"/>
                    <a:pt x="9346" y="11484"/>
                    <a:pt x="9346" y="11484"/>
                  </a:cubicBezTo>
                  <a:cubicBezTo>
                    <a:pt x="9762" y="10390"/>
                    <a:pt x="9762" y="10390"/>
                    <a:pt x="9762" y="10390"/>
                  </a:cubicBezTo>
                  <a:cubicBezTo>
                    <a:pt x="10385" y="10663"/>
                    <a:pt x="10385" y="10663"/>
                    <a:pt x="10385" y="10663"/>
                  </a:cubicBezTo>
                  <a:cubicBezTo>
                    <a:pt x="10177" y="11210"/>
                    <a:pt x="10177" y="11210"/>
                    <a:pt x="10177" y="11210"/>
                  </a:cubicBezTo>
                  <a:cubicBezTo>
                    <a:pt x="11423" y="12030"/>
                    <a:pt x="11423" y="12030"/>
                    <a:pt x="11423" y="12030"/>
                  </a:cubicBezTo>
                  <a:cubicBezTo>
                    <a:pt x="11631" y="11484"/>
                    <a:pt x="11631" y="11484"/>
                    <a:pt x="11631" y="11484"/>
                  </a:cubicBezTo>
                  <a:cubicBezTo>
                    <a:pt x="13292" y="12577"/>
                    <a:pt x="13292" y="12577"/>
                    <a:pt x="13292" y="12577"/>
                  </a:cubicBezTo>
                  <a:cubicBezTo>
                    <a:pt x="12877" y="13397"/>
                    <a:pt x="12877" y="13397"/>
                    <a:pt x="12877" y="13397"/>
                  </a:cubicBezTo>
                  <a:cubicBezTo>
                    <a:pt x="12462" y="14218"/>
                    <a:pt x="12462" y="14218"/>
                    <a:pt x="12462" y="14218"/>
                  </a:cubicBezTo>
                  <a:cubicBezTo>
                    <a:pt x="13500" y="15038"/>
                    <a:pt x="13500" y="15038"/>
                    <a:pt x="13500" y="15038"/>
                  </a:cubicBezTo>
                  <a:cubicBezTo>
                    <a:pt x="13915" y="14765"/>
                    <a:pt x="13915" y="14765"/>
                    <a:pt x="13915" y="14765"/>
                  </a:cubicBezTo>
                  <a:cubicBezTo>
                    <a:pt x="13915" y="15585"/>
                    <a:pt x="13915" y="15585"/>
                    <a:pt x="13915" y="15585"/>
                  </a:cubicBezTo>
                  <a:cubicBezTo>
                    <a:pt x="14954" y="16132"/>
                    <a:pt x="14954" y="16132"/>
                    <a:pt x="14954" y="16132"/>
                  </a:cubicBezTo>
                  <a:cubicBezTo>
                    <a:pt x="15369" y="15311"/>
                    <a:pt x="15369" y="15311"/>
                    <a:pt x="15369" y="15311"/>
                  </a:cubicBezTo>
                  <a:cubicBezTo>
                    <a:pt x="15369" y="16132"/>
                    <a:pt x="15369" y="16132"/>
                    <a:pt x="15369" y="16132"/>
                  </a:cubicBezTo>
                  <a:cubicBezTo>
                    <a:pt x="16408" y="16678"/>
                    <a:pt x="16408" y="16678"/>
                    <a:pt x="16408" y="16678"/>
                  </a:cubicBezTo>
                  <a:cubicBezTo>
                    <a:pt x="16823" y="15858"/>
                    <a:pt x="16823" y="15858"/>
                    <a:pt x="16823" y="15858"/>
                  </a:cubicBezTo>
                  <a:cubicBezTo>
                    <a:pt x="17031" y="15858"/>
                    <a:pt x="17031" y="15858"/>
                    <a:pt x="17031" y="15858"/>
                  </a:cubicBezTo>
                  <a:cubicBezTo>
                    <a:pt x="17031" y="16678"/>
                    <a:pt x="17031" y="16678"/>
                    <a:pt x="17031" y="16678"/>
                  </a:cubicBezTo>
                  <a:cubicBezTo>
                    <a:pt x="18069" y="17225"/>
                    <a:pt x="18069" y="17225"/>
                    <a:pt x="18069" y="17225"/>
                  </a:cubicBezTo>
                  <a:cubicBezTo>
                    <a:pt x="18277" y="16952"/>
                    <a:pt x="18277" y="16952"/>
                    <a:pt x="18277" y="16952"/>
                  </a:cubicBezTo>
                  <a:cubicBezTo>
                    <a:pt x="18900" y="16405"/>
                    <a:pt x="18900" y="16405"/>
                    <a:pt x="18900" y="16405"/>
                  </a:cubicBezTo>
                  <a:cubicBezTo>
                    <a:pt x="20146" y="17225"/>
                    <a:pt x="20146" y="17225"/>
                    <a:pt x="20146" y="17225"/>
                  </a:cubicBezTo>
                  <a:cubicBezTo>
                    <a:pt x="20769" y="16405"/>
                    <a:pt x="21185" y="15585"/>
                    <a:pt x="21185" y="14218"/>
                  </a:cubicBezTo>
                  <a:cubicBezTo>
                    <a:pt x="20562" y="13944"/>
                    <a:pt x="20562" y="13944"/>
                    <a:pt x="20562" y="13944"/>
                  </a:cubicBezTo>
                  <a:cubicBezTo>
                    <a:pt x="20562" y="13944"/>
                    <a:pt x="20562" y="13944"/>
                    <a:pt x="20562" y="13944"/>
                  </a:cubicBezTo>
                  <a:cubicBezTo>
                    <a:pt x="21185" y="11210"/>
                    <a:pt x="21185" y="11210"/>
                    <a:pt x="21185" y="11210"/>
                  </a:cubicBezTo>
                  <a:cubicBezTo>
                    <a:pt x="21600" y="10663"/>
                    <a:pt x="21600" y="10663"/>
                    <a:pt x="21600" y="10663"/>
                  </a:cubicBezTo>
                  <a:close/>
                  <a:moveTo>
                    <a:pt x="5400" y="7929"/>
                  </a:moveTo>
                  <a:cubicBezTo>
                    <a:pt x="4985" y="8749"/>
                    <a:pt x="4985" y="8749"/>
                    <a:pt x="4985" y="8749"/>
                  </a:cubicBezTo>
                  <a:cubicBezTo>
                    <a:pt x="4362" y="10937"/>
                    <a:pt x="4362" y="10937"/>
                    <a:pt x="4362" y="10937"/>
                  </a:cubicBezTo>
                  <a:cubicBezTo>
                    <a:pt x="3531" y="10663"/>
                    <a:pt x="3531" y="10663"/>
                    <a:pt x="3531" y="10663"/>
                  </a:cubicBezTo>
                  <a:cubicBezTo>
                    <a:pt x="4362" y="8203"/>
                    <a:pt x="4362" y="8203"/>
                    <a:pt x="4362" y="8203"/>
                  </a:cubicBezTo>
                  <a:cubicBezTo>
                    <a:pt x="4569" y="7382"/>
                    <a:pt x="4569" y="7382"/>
                    <a:pt x="4569" y="7382"/>
                  </a:cubicBezTo>
                  <a:cubicBezTo>
                    <a:pt x="6646" y="1914"/>
                    <a:pt x="6646" y="1914"/>
                    <a:pt x="6646" y="1914"/>
                  </a:cubicBezTo>
                  <a:cubicBezTo>
                    <a:pt x="7269" y="2461"/>
                    <a:pt x="7269" y="2461"/>
                    <a:pt x="7269" y="2461"/>
                  </a:cubicBezTo>
                  <a:lnTo>
                    <a:pt x="5400" y="7929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tIns="45720" bIns="45720"/>
            <a:lstStyle/>
            <a:p>
              <a:pPr algn="l" defTabSz="457250">
                <a:defRPr sz="3600">
                  <a:latin typeface="Calibri"/>
                  <a:ea typeface="Calibri"/>
                  <a:cs typeface="Calibri"/>
                  <a:sym typeface="Calibri"/>
                </a:defRPr>
              </a:pPr>
              <a:endParaRPr sz="1400"/>
            </a:p>
          </p:txBody>
        </p:sp>
        <p:sp>
          <p:nvSpPr>
            <p:cNvPr id="80" name="ee4pContent2">
              <a:extLst>
                <a:ext uri="{FF2B5EF4-FFF2-40B4-BE49-F238E27FC236}">
                  <a16:creationId xmlns="" xmlns:a16="http://schemas.microsoft.com/office/drawing/2014/main" id="{9746E482-1CE4-4E39-982D-C0A68DB14D81}"/>
                </a:ext>
              </a:extLst>
            </p:cNvPr>
            <p:cNvSpPr txBox="1"/>
            <p:nvPr/>
          </p:nvSpPr>
          <p:spPr>
            <a:xfrm>
              <a:off x="6800798" y="3182889"/>
              <a:ext cx="1551692" cy="52646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fontAlgn="ctr">
                <a:lnSpc>
                  <a:spcPct val="90000"/>
                </a:lnSpc>
                <a:buNone/>
                <a:defRPr/>
              </a:pPr>
              <a:r>
                <a:rPr kumimoji="0" lang="ru-RU" sz="28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D966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Arial" pitchFamily="34" charset="0"/>
                </a:rPr>
                <a:t>1094</a:t>
              </a:r>
              <a:endParaRPr kumimoji="0" lang="ru-RU" sz="2800" i="0" u="none" strike="noStrike" kern="1200" cap="none" spc="0" normalizeH="0" baseline="0" noProof="0" dirty="0">
                <a:ln>
                  <a:noFill/>
                </a:ln>
                <a:solidFill>
                  <a:srgbClr val="FFD966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1" name="ee4pContent2">
              <a:extLst>
                <a:ext uri="{FF2B5EF4-FFF2-40B4-BE49-F238E27FC236}">
                  <a16:creationId xmlns="" xmlns:a16="http://schemas.microsoft.com/office/drawing/2014/main" id="{B57B6F01-9776-4B8C-BAE8-DFFDA3E63D1E}"/>
                </a:ext>
              </a:extLst>
            </p:cNvPr>
            <p:cNvSpPr txBox="1"/>
            <p:nvPr/>
          </p:nvSpPr>
          <p:spPr>
            <a:xfrm>
              <a:off x="8792648" y="3182889"/>
              <a:ext cx="2524281" cy="52646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fontAlgn="ctr">
                <a:lnSpc>
                  <a:spcPct val="90000"/>
                </a:lnSpc>
                <a:buNone/>
                <a:defRPr/>
              </a:pPr>
              <a:r>
                <a:rPr lang="ru-RU" sz="1400" dirty="0">
                  <a:solidFill>
                    <a:schemeClr val="bg1"/>
                  </a:solidFill>
                  <a:latin typeface="Arial" panose="020B0604020202020204" pitchFamily="34" charset="0"/>
                </a:rPr>
                <a:t>Передано дел в правоохранительные органы</a:t>
              </a: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="" xmlns:a16="http://schemas.microsoft.com/office/drawing/2014/main" id="{7E8C022E-E88B-4DB0-BE9C-8BF7AFEA24CD}"/>
              </a:ext>
            </a:extLst>
          </p:cNvPr>
          <p:cNvGrpSpPr/>
          <p:nvPr/>
        </p:nvGrpSpPr>
        <p:grpSpPr>
          <a:xfrm>
            <a:off x="6165327" y="3374578"/>
            <a:ext cx="5295816" cy="526468"/>
            <a:chOff x="6205527" y="3896330"/>
            <a:chExt cx="5295816" cy="526468"/>
          </a:xfrm>
        </p:grpSpPr>
        <p:sp>
          <p:nvSpPr>
            <p:cNvPr id="83" name="Shape 5619">
              <a:extLst>
                <a:ext uri="{FF2B5EF4-FFF2-40B4-BE49-F238E27FC236}">
                  <a16:creationId xmlns="" xmlns:a16="http://schemas.microsoft.com/office/drawing/2014/main" id="{BD611C6F-EA41-48D4-955F-685B0EA2B9D4}"/>
                </a:ext>
              </a:extLst>
            </p:cNvPr>
            <p:cNvSpPr/>
            <p:nvPr/>
          </p:nvSpPr>
          <p:spPr>
            <a:xfrm>
              <a:off x="6205527" y="4003092"/>
              <a:ext cx="396000" cy="3129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952" extrusionOk="0">
                  <a:moveTo>
                    <a:pt x="13407" y="7704"/>
                  </a:moveTo>
                  <a:cubicBezTo>
                    <a:pt x="13407" y="7416"/>
                    <a:pt x="13407" y="7128"/>
                    <a:pt x="13407" y="7128"/>
                  </a:cubicBezTo>
                  <a:cubicBezTo>
                    <a:pt x="13407" y="4824"/>
                    <a:pt x="13407" y="4824"/>
                    <a:pt x="13407" y="4824"/>
                  </a:cubicBezTo>
                  <a:cubicBezTo>
                    <a:pt x="13221" y="4824"/>
                    <a:pt x="13034" y="4824"/>
                    <a:pt x="12848" y="4824"/>
                  </a:cubicBezTo>
                  <a:cubicBezTo>
                    <a:pt x="12662" y="3384"/>
                    <a:pt x="12662" y="3384"/>
                    <a:pt x="12662" y="3384"/>
                  </a:cubicBezTo>
                  <a:cubicBezTo>
                    <a:pt x="12103" y="4824"/>
                    <a:pt x="12103" y="4824"/>
                    <a:pt x="12103" y="4824"/>
                  </a:cubicBezTo>
                  <a:cubicBezTo>
                    <a:pt x="11172" y="5400"/>
                    <a:pt x="10428" y="5688"/>
                    <a:pt x="8752" y="4536"/>
                  </a:cubicBezTo>
                  <a:cubicBezTo>
                    <a:pt x="8566" y="4536"/>
                    <a:pt x="8566" y="4536"/>
                    <a:pt x="8566" y="4536"/>
                  </a:cubicBezTo>
                  <a:cubicBezTo>
                    <a:pt x="8566" y="7128"/>
                    <a:pt x="8566" y="7128"/>
                    <a:pt x="8566" y="7128"/>
                  </a:cubicBezTo>
                  <a:cubicBezTo>
                    <a:pt x="8566" y="7128"/>
                    <a:pt x="8566" y="7416"/>
                    <a:pt x="8566" y="7704"/>
                  </a:cubicBezTo>
                  <a:cubicBezTo>
                    <a:pt x="7076" y="5976"/>
                    <a:pt x="7634" y="5112"/>
                    <a:pt x="7262" y="1944"/>
                  </a:cubicBezTo>
                  <a:cubicBezTo>
                    <a:pt x="8379" y="-648"/>
                    <a:pt x="13966" y="-648"/>
                    <a:pt x="14710" y="1944"/>
                  </a:cubicBezTo>
                  <a:cubicBezTo>
                    <a:pt x="14524" y="4248"/>
                    <a:pt x="14710" y="6264"/>
                    <a:pt x="13593" y="7704"/>
                  </a:cubicBezTo>
                  <a:cubicBezTo>
                    <a:pt x="13407" y="7704"/>
                    <a:pt x="13407" y="7704"/>
                    <a:pt x="13407" y="7704"/>
                  </a:cubicBezTo>
                  <a:close/>
                  <a:moveTo>
                    <a:pt x="1490" y="9720"/>
                  </a:moveTo>
                  <a:cubicBezTo>
                    <a:pt x="1303" y="7992"/>
                    <a:pt x="1303" y="7128"/>
                    <a:pt x="1490" y="5976"/>
                  </a:cubicBezTo>
                  <a:cubicBezTo>
                    <a:pt x="3352" y="6552"/>
                    <a:pt x="3724" y="3960"/>
                    <a:pt x="5400" y="5976"/>
                  </a:cubicBezTo>
                  <a:cubicBezTo>
                    <a:pt x="5586" y="7128"/>
                    <a:pt x="5586" y="8568"/>
                    <a:pt x="5400" y="9432"/>
                  </a:cubicBezTo>
                  <a:cubicBezTo>
                    <a:pt x="5400" y="10296"/>
                    <a:pt x="5214" y="10872"/>
                    <a:pt x="4841" y="11448"/>
                  </a:cubicBezTo>
                  <a:cubicBezTo>
                    <a:pt x="4469" y="12024"/>
                    <a:pt x="3910" y="12600"/>
                    <a:pt x="3352" y="12600"/>
                  </a:cubicBezTo>
                  <a:cubicBezTo>
                    <a:pt x="3352" y="12600"/>
                    <a:pt x="3352" y="12600"/>
                    <a:pt x="3352" y="12600"/>
                  </a:cubicBezTo>
                  <a:cubicBezTo>
                    <a:pt x="2793" y="12600"/>
                    <a:pt x="2421" y="12024"/>
                    <a:pt x="2048" y="11448"/>
                  </a:cubicBezTo>
                  <a:cubicBezTo>
                    <a:pt x="1676" y="10872"/>
                    <a:pt x="1490" y="10296"/>
                    <a:pt x="1490" y="9720"/>
                  </a:cubicBezTo>
                  <a:close/>
                  <a:moveTo>
                    <a:pt x="4655" y="12600"/>
                  </a:moveTo>
                  <a:cubicBezTo>
                    <a:pt x="4097" y="14328"/>
                    <a:pt x="2607" y="14328"/>
                    <a:pt x="2234" y="12600"/>
                  </a:cubicBezTo>
                  <a:cubicBezTo>
                    <a:pt x="745" y="13176"/>
                    <a:pt x="745" y="13176"/>
                    <a:pt x="745" y="13176"/>
                  </a:cubicBezTo>
                  <a:cubicBezTo>
                    <a:pt x="745" y="13176"/>
                    <a:pt x="745" y="13176"/>
                    <a:pt x="745" y="13176"/>
                  </a:cubicBezTo>
                  <a:cubicBezTo>
                    <a:pt x="559" y="13176"/>
                    <a:pt x="559" y="13176"/>
                    <a:pt x="559" y="13176"/>
                  </a:cubicBezTo>
                  <a:cubicBezTo>
                    <a:pt x="372" y="13752"/>
                    <a:pt x="186" y="14040"/>
                    <a:pt x="0" y="14904"/>
                  </a:cubicBezTo>
                  <a:cubicBezTo>
                    <a:pt x="0" y="15480"/>
                    <a:pt x="0" y="16056"/>
                    <a:pt x="0" y="16920"/>
                  </a:cubicBezTo>
                  <a:cubicBezTo>
                    <a:pt x="186" y="17208"/>
                    <a:pt x="186" y="17208"/>
                    <a:pt x="186" y="17208"/>
                  </a:cubicBezTo>
                  <a:cubicBezTo>
                    <a:pt x="372" y="17208"/>
                    <a:pt x="372" y="17208"/>
                    <a:pt x="372" y="17208"/>
                  </a:cubicBezTo>
                  <a:cubicBezTo>
                    <a:pt x="4841" y="17208"/>
                    <a:pt x="4841" y="17208"/>
                    <a:pt x="4841" y="17208"/>
                  </a:cubicBezTo>
                  <a:cubicBezTo>
                    <a:pt x="4655" y="18072"/>
                    <a:pt x="4841" y="19224"/>
                    <a:pt x="4841" y="20376"/>
                  </a:cubicBezTo>
                  <a:cubicBezTo>
                    <a:pt x="5028" y="20952"/>
                    <a:pt x="5028" y="20952"/>
                    <a:pt x="5028" y="20952"/>
                  </a:cubicBezTo>
                  <a:cubicBezTo>
                    <a:pt x="5214" y="20952"/>
                    <a:pt x="5214" y="20952"/>
                    <a:pt x="5214" y="20952"/>
                  </a:cubicBezTo>
                  <a:cubicBezTo>
                    <a:pt x="16759" y="20952"/>
                    <a:pt x="16759" y="20952"/>
                    <a:pt x="16759" y="20952"/>
                  </a:cubicBezTo>
                  <a:cubicBezTo>
                    <a:pt x="17131" y="20952"/>
                    <a:pt x="17131" y="20952"/>
                    <a:pt x="17131" y="20952"/>
                  </a:cubicBezTo>
                  <a:cubicBezTo>
                    <a:pt x="17131" y="20376"/>
                    <a:pt x="17131" y="20376"/>
                    <a:pt x="17131" y="20376"/>
                  </a:cubicBezTo>
                  <a:cubicBezTo>
                    <a:pt x="17317" y="19224"/>
                    <a:pt x="17317" y="18360"/>
                    <a:pt x="17317" y="17208"/>
                  </a:cubicBezTo>
                  <a:cubicBezTo>
                    <a:pt x="21414" y="17208"/>
                    <a:pt x="21414" y="17208"/>
                    <a:pt x="21414" y="17208"/>
                  </a:cubicBezTo>
                  <a:cubicBezTo>
                    <a:pt x="21600" y="17208"/>
                    <a:pt x="21600" y="17208"/>
                    <a:pt x="21600" y="17208"/>
                  </a:cubicBezTo>
                  <a:cubicBezTo>
                    <a:pt x="21600" y="16920"/>
                    <a:pt x="21600" y="16920"/>
                    <a:pt x="21600" y="16920"/>
                  </a:cubicBezTo>
                  <a:cubicBezTo>
                    <a:pt x="21600" y="16344"/>
                    <a:pt x="21600" y="15768"/>
                    <a:pt x="21600" y="15192"/>
                  </a:cubicBezTo>
                  <a:cubicBezTo>
                    <a:pt x="21600" y="14328"/>
                    <a:pt x="21414" y="13752"/>
                    <a:pt x="21228" y="13464"/>
                  </a:cubicBezTo>
                  <a:cubicBezTo>
                    <a:pt x="21041" y="13176"/>
                    <a:pt x="21041" y="13176"/>
                    <a:pt x="21041" y="13176"/>
                  </a:cubicBezTo>
                  <a:cubicBezTo>
                    <a:pt x="21041" y="13176"/>
                    <a:pt x="21041" y="13176"/>
                    <a:pt x="21041" y="13176"/>
                  </a:cubicBezTo>
                  <a:cubicBezTo>
                    <a:pt x="19552" y="12600"/>
                    <a:pt x="19552" y="12600"/>
                    <a:pt x="19552" y="12600"/>
                  </a:cubicBezTo>
                  <a:cubicBezTo>
                    <a:pt x="19179" y="12888"/>
                    <a:pt x="19179" y="12888"/>
                    <a:pt x="19179" y="12888"/>
                  </a:cubicBezTo>
                  <a:cubicBezTo>
                    <a:pt x="18248" y="16344"/>
                    <a:pt x="18248" y="16344"/>
                    <a:pt x="18248" y="16344"/>
                  </a:cubicBezTo>
                  <a:cubicBezTo>
                    <a:pt x="17317" y="12888"/>
                    <a:pt x="17317" y="12888"/>
                    <a:pt x="17317" y="12888"/>
                  </a:cubicBezTo>
                  <a:cubicBezTo>
                    <a:pt x="16945" y="12600"/>
                    <a:pt x="16945" y="12600"/>
                    <a:pt x="16945" y="12600"/>
                  </a:cubicBezTo>
                  <a:cubicBezTo>
                    <a:pt x="15641" y="13176"/>
                    <a:pt x="15641" y="13176"/>
                    <a:pt x="15641" y="13176"/>
                  </a:cubicBezTo>
                  <a:cubicBezTo>
                    <a:pt x="13407" y="12312"/>
                    <a:pt x="13407" y="12312"/>
                    <a:pt x="13407" y="12312"/>
                  </a:cubicBezTo>
                  <a:cubicBezTo>
                    <a:pt x="12848" y="12888"/>
                    <a:pt x="12848" y="12888"/>
                    <a:pt x="12848" y="12888"/>
                  </a:cubicBezTo>
                  <a:cubicBezTo>
                    <a:pt x="12848" y="13752"/>
                    <a:pt x="12848" y="13752"/>
                    <a:pt x="12848" y="13752"/>
                  </a:cubicBezTo>
                  <a:cubicBezTo>
                    <a:pt x="11917" y="18648"/>
                    <a:pt x="11917" y="18648"/>
                    <a:pt x="11917" y="18648"/>
                  </a:cubicBezTo>
                  <a:cubicBezTo>
                    <a:pt x="11917" y="18648"/>
                    <a:pt x="11917" y="18648"/>
                    <a:pt x="11917" y="18648"/>
                  </a:cubicBezTo>
                  <a:cubicBezTo>
                    <a:pt x="11545" y="14904"/>
                    <a:pt x="11545" y="14904"/>
                    <a:pt x="11545" y="14904"/>
                  </a:cubicBezTo>
                  <a:cubicBezTo>
                    <a:pt x="11917" y="14328"/>
                    <a:pt x="11917" y="14328"/>
                    <a:pt x="11917" y="14328"/>
                  </a:cubicBezTo>
                  <a:cubicBezTo>
                    <a:pt x="11731" y="12888"/>
                    <a:pt x="11731" y="12888"/>
                    <a:pt x="11731" y="12888"/>
                  </a:cubicBezTo>
                  <a:cubicBezTo>
                    <a:pt x="11172" y="12888"/>
                    <a:pt x="11172" y="12888"/>
                    <a:pt x="11172" y="12888"/>
                  </a:cubicBezTo>
                  <a:cubicBezTo>
                    <a:pt x="10986" y="12888"/>
                    <a:pt x="10986" y="12888"/>
                    <a:pt x="10986" y="12888"/>
                  </a:cubicBezTo>
                  <a:cubicBezTo>
                    <a:pt x="10428" y="12888"/>
                    <a:pt x="10428" y="12888"/>
                    <a:pt x="10428" y="12888"/>
                  </a:cubicBezTo>
                  <a:cubicBezTo>
                    <a:pt x="10241" y="14328"/>
                    <a:pt x="10241" y="14328"/>
                    <a:pt x="10241" y="14328"/>
                  </a:cubicBezTo>
                  <a:cubicBezTo>
                    <a:pt x="10614" y="14904"/>
                    <a:pt x="10614" y="14904"/>
                    <a:pt x="10614" y="14904"/>
                  </a:cubicBezTo>
                  <a:cubicBezTo>
                    <a:pt x="10055" y="18648"/>
                    <a:pt x="10055" y="18648"/>
                    <a:pt x="10055" y="18648"/>
                  </a:cubicBezTo>
                  <a:cubicBezTo>
                    <a:pt x="9124" y="13752"/>
                    <a:pt x="9124" y="13752"/>
                    <a:pt x="9124" y="13752"/>
                  </a:cubicBezTo>
                  <a:cubicBezTo>
                    <a:pt x="9124" y="12888"/>
                    <a:pt x="9124" y="12888"/>
                    <a:pt x="9124" y="12888"/>
                  </a:cubicBezTo>
                  <a:cubicBezTo>
                    <a:pt x="8752" y="12312"/>
                    <a:pt x="8752" y="12312"/>
                    <a:pt x="8752" y="12312"/>
                  </a:cubicBezTo>
                  <a:cubicBezTo>
                    <a:pt x="6145" y="13176"/>
                    <a:pt x="6145" y="13176"/>
                    <a:pt x="6145" y="13176"/>
                  </a:cubicBezTo>
                  <a:cubicBezTo>
                    <a:pt x="6145" y="13176"/>
                    <a:pt x="6145" y="13176"/>
                    <a:pt x="6145" y="13176"/>
                  </a:cubicBezTo>
                  <a:cubicBezTo>
                    <a:pt x="4655" y="12600"/>
                    <a:pt x="4655" y="12600"/>
                    <a:pt x="4655" y="12600"/>
                  </a:cubicBezTo>
                  <a:close/>
                  <a:moveTo>
                    <a:pt x="16200" y="9720"/>
                  </a:moveTo>
                  <a:cubicBezTo>
                    <a:pt x="16200" y="7992"/>
                    <a:pt x="16014" y="6552"/>
                    <a:pt x="16200" y="5400"/>
                  </a:cubicBezTo>
                  <a:cubicBezTo>
                    <a:pt x="16945" y="4536"/>
                    <a:pt x="19738" y="4536"/>
                    <a:pt x="20297" y="5400"/>
                  </a:cubicBezTo>
                  <a:cubicBezTo>
                    <a:pt x="20297" y="6840"/>
                    <a:pt x="20297" y="8568"/>
                    <a:pt x="20297" y="9432"/>
                  </a:cubicBezTo>
                  <a:cubicBezTo>
                    <a:pt x="20110" y="10296"/>
                    <a:pt x="19924" y="10872"/>
                    <a:pt x="19738" y="11448"/>
                  </a:cubicBezTo>
                  <a:cubicBezTo>
                    <a:pt x="19366" y="12024"/>
                    <a:pt x="18807" y="12600"/>
                    <a:pt x="18248" y="12600"/>
                  </a:cubicBezTo>
                  <a:cubicBezTo>
                    <a:pt x="18248" y="12600"/>
                    <a:pt x="18248" y="12600"/>
                    <a:pt x="18248" y="12600"/>
                  </a:cubicBezTo>
                  <a:cubicBezTo>
                    <a:pt x="17690" y="12600"/>
                    <a:pt x="17131" y="12024"/>
                    <a:pt x="16759" y="11448"/>
                  </a:cubicBezTo>
                  <a:cubicBezTo>
                    <a:pt x="16572" y="10872"/>
                    <a:pt x="16386" y="10296"/>
                    <a:pt x="16200" y="972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tIns="45720" bIns="45720"/>
            <a:lstStyle/>
            <a:p>
              <a:pPr algn="l" defTabSz="457250">
                <a:defRPr sz="3600">
                  <a:latin typeface="Calibri"/>
                  <a:ea typeface="Calibri"/>
                  <a:cs typeface="Calibri"/>
                  <a:sym typeface="Calibri"/>
                </a:defRPr>
              </a:pPr>
              <a:endParaRPr sz="1400"/>
            </a:p>
          </p:txBody>
        </p:sp>
        <p:sp>
          <p:nvSpPr>
            <p:cNvPr id="84" name="ee4pContent2">
              <a:extLst>
                <a:ext uri="{FF2B5EF4-FFF2-40B4-BE49-F238E27FC236}">
                  <a16:creationId xmlns="" xmlns:a16="http://schemas.microsoft.com/office/drawing/2014/main" id="{009C33B9-0E4B-46DD-B2C8-36314799CE9C}"/>
                </a:ext>
              </a:extLst>
            </p:cNvPr>
            <p:cNvSpPr txBox="1"/>
            <p:nvPr/>
          </p:nvSpPr>
          <p:spPr>
            <a:xfrm>
              <a:off x="6800798" y="3896330"/>
              <a:ext cx="1302188" cy="52646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fontAlgn="ctr">
                <a:lnSpc>
                  <a:spcPct val="90000"/>
                </a:lnSpc>
                <a:buNone/>
                <a:defRPr/>
              </a:pPr>
              <a:r>
                <a:rPr lang="ru-RU" sz="2800" dirty="0" smtClean="0">
                  <a:solidFill>
                    <a:srgbClr val="FFD966"/>
                  </a:solidFill>
                </a:rPr>
                <a:t>192</a:t>
              </a:r>
              <a:endParaRPr lang="ru-RU" sz="2800" dirty="0">
                <a:solidFill>
                  <a:srgbClr val="FFD966"/>
                </a:solidFill>
              </a:endParaRPr>
            </a:p>
          </p:txBody>
        </p:sp>
        <p:sp>
          <p:nvSpPr>
            <p:cNvPr id="85" name="ee4pContent2">
              <a:extLst>
                <a:ext uri="{FF2B5EF4-FFF2-40B4-BE49-F238E27FC236}">
                  <a16:creationId xmlns="" xmlns:a16="http://schemas.microsoft.com/office/drawing/2014/main" id="{9D04B4D5-B724-4B36-A82C-4EC615F3BE01}"/>
                </a:ext>
              </a:extLst>
            </p:cNvPr>
            <p:cNvSpPr txBox="1"/>
            <p:nvPr/>
          </p:nvSpPr>
          <p:spPr>
            <a:xfrm>
              <a:off x="8792648" y="3896330"/>
              <a:ext cx="2708695" cy="52646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fontAlgn="ctr">
                <a:lnSpc>
                  <a:spcPct val="90000"/>
                </a:lnSpc>
                <a:buNone/>
                <a:defRPr/>
              </a:pPr>
              <a:r>
                <a:rPr lang="ru-RU" sz="1400" dirty="0">
                  <a:solidFill>
                    <a:schemeClr val="bg1"/>
                  </a:solidFill>
                  <a:latin typeface="Arial" panose="020B0604020202020204" pitchFamily="34" charset="0"/>
                </a:rPr>
                <a:t>Возбуждено уголовных дел</a:t>
              </a:r>
            </a:p>
          </p:txBody>
        </p:sp>
      </p:grpSp>
      <p:grpSp>
        <p:nvGrpSpPr>
          <p:cNvPr id="86" name="Группа 85">
            <a:extLst>
              <a:ext uri="{FF2B5EF4-FFF2-40B4-BE49-F238E27FC236}">
                <a16:creationId xmlns="" xmlns:a16="http://schemas.microsoft.com/office/drawing/2014/main" id="{610DF1A4-6465-49A0-9314-B87F5F931521}"/>
              </a:ext>
            </a:extLst>
          </p:cNvPr>
          <p:cNvGrpSpPr/>
          <p:nvPr/>
        </p:nvGrpSpPr>
        <p:grpSpPr>
          <a:xfrm>
            <a:off x="6734123" y="1957734"/>
            <a:ext cx="4790612" cy="526468"/>
            <a:chOff x="6800798" y="4609771"/>
            <a:chExt cx="4700545" cy="526468"/>
          </a:xfrm>
        </p:grpSpPr>
        <p:sp>
          <p:nvSpPr>
            <p:cNvPr id="89" name="ee4pContent2">
              <a:extLst>
                <a:ext uri="{FF2B5EF4-FFF2-40B4-BE49-F238E27FC236}">
                  <a16:creationId xmlns="" xmlns:a16="http://schemas.microsoft.com/office/drawing/2014/main" id="{CC889D89-2B2E-4CBC-8373-D186B11380EE}"/>
                </a:ext>
              </a:extLst>
            </p:cNvPr>
            <p:cNvSpPr txBox="1"/>
            <p:nvPr/>
          </p:nvSpPr>
          <p:spPr>
            <a:xfrm>
              <a:off x="6800798" y="4609771"/>
              <a:ext cx="1836000" cy="52646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fontAlgn="ctr">
                <a:lnSpc>
                  <a:spcPct val="90000"/>
                </a:lnSpc>
                <a:buNone/>
                <a:defRPr/>
              </a:pPr>
              <a:r>
                <a:rPr lang="ru-RU" sz="2800" dirty="0" smtClean="0">
                  <a:solidFill>
                    <a:srgbClr val="FFD966"/>
                  </a:solidFill>
                </a:rPr>
                <a:t>119</a:t>
              </a:r>
              <a:r>
                <a:rPr lang="ru-RU" sz="2800" dirty="0" smtClean="0">
                  <a:solidFill>
                    <a:srgbClr val="FFD966"/>
                  </a:solidFill>
                </a:rPr>
                <a:t> </a:t>
              </a:r>
              <a:endParaRPr lang="ru-RU" sz="2800" dirty="0">
                <a:solidFill>
                  <a:srgbClr val="FFD966"/>
                </a:solidFill>
              </a:endParaRPr>
            </a:p>
          </p:txBody>
        </p:sp>
        <p:sp>
          <p:nvSpPr>
            <p:cNvPr id="90" name="ee4pContent2">
              <a:extLst>
                <a:ext uri="{FF2B5EF4-FFF2-40B4-BE49-F238E27FC236}">
                  <a16:creationId xmlns="" xmlns:a16="http://schemas.microsoft.com/office/drawing/2014/main" id="{58BADD95-B8FB-4FC5-9324-BAE2F8630CFD}"/>
                </a:ext>
              </a:extLst>
            </p:cNvPr>
            <p:cNvSpPr txBox="1"/>
            <p:nvPr/>
          </p:nvSpPr>
          <p:spPr>
            <a:xfrm>
              <a:off x="8792648" y="4609771"/>
              <a:ext cx="2708695" cy="52646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fontAlgn="ctr">
                <a:lnSpc>
                  <a:spcPct val="90000"/>
                </a:lnSpc>
                <a:buNone/>
                <a:defRPr/>
              </a:pPr>
              <a:r>
                <a:rPr lang="ru-RU" sz="1400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Освобождены </a:t>
              </a:r>
              <a:r>
                <a:rPr lang="ru-RU" sz="1400" dirty="0">
                  <a:solidFill>
                    <a:schemeClr val="bg1"/>
                  </a:solidFill>
                  <a:latin typeface="Arial" panose="020B0604020202020204" pitchFamily="34" charset="0"/>
                </a:rPr>
                <a:t>от занимаемой должности 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BEA42D76-FA63-49AE-97EB-5B53EFB7C073}"/>
              </a:ext>
            </a:extLst>
          </p:cNvPr>
          <p:cNvSpPr txBox="1"/>
          <p:nvPr/>
        </p:nvSpPr>
        <p:spPr>
          <a:xfrm>
            <a:off x="5848350" y="1209675"/>
            <a:ext cx="4410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имаемые мер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FADA6DC1-973C-4187-9BD5-59EFB19054C9}"/>
              </a:ext>
            </a:extLst>
          </p:cNvPr>
          <p:cNvSpPr/>
          <p:nvPr/>
        </p:nvSpPr>
        <p:spPr>
          <a:xfrm>
            <a:off x="610636" y="1196459"/>
            <a:ext cx="21443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екущая ситуация</a:t>
            </a:r>
          </a:p>
        </p:txBody>
      </p:sp>
      <p:graphicFrame>
        <p:nvGraphicFramePr>
          <p:cNvPr id="38" name="Диаграмма 40">
            <a:extLst>
              <a:ext uri="{FF2B5EF4-FFF2-40B4-BE49-F238E27FC236}">
                <a16:creationId xmlns="" xmlns:a16="http://schemas.microsoft.com/office/drawing/2014/main" id="{03CD1E92-FDAE-4BA3-9D22-4D369686A8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9442094"/>
              </p:ext>
            </p:extLst>
          </p:nvPr>
        </p:nvGraphicFramePr>
        <p:xfrm>
          <a:off x="526624" y="1778625"/>
          <a:ext cx="4967801" cy="41509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9" name="ee4pContent2">
            <a:extLst>
              <a:ext uri="{FF2B5EF4-FFF2-40B4-BE49-F238E27FC236}">
                <a16:creationId xmlns="" xmlns:a16="http://schemas.microsoft.com/office/drawing/2014/main" id="{9D04B4D5-B724-4B36-A82C-4EC615F3BE01}"/>
              </a:ext>
            </a:extLst>
          </p:cNvPr>
          <p:cNvSpPr txBox="1"/>
          <p:nvPr/>
        </p:nvSpPr>
        <p:spPr>
          <a:xfrm>
            <a:off x="8725973" y="4097029"/>
            <a:ext cx="2708695" cy="52646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kk-KZ" sz="1400" dirty="0" smtClean="0">
                <a:solidFill>
                  <a:schemeClr val="bg1"/>
                </a:solidFill>
                <a:latin typeface="Arial" panose="020B0604020202020204" pitchFamily="34" charset="0"/>
              </a:rPr>
              <a:t>Аттестовано производственных объектов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40" name="ee4pContent2">
            <a:extLst>
              <a:ext uri="{FF2B5EF4-FFF2-40B4-BE49-F238E27FC236}">
                <a16:creationId xmlns="" xmlns:a16="http://schemas.microsoft.com/office/drawing/2014/main" id="{009C33B9-0E4B-46DD-B2C8-36314799CE9C}"/>
              </a:ext>
            </a:extLst>
          </p:cNvPr>
          <p:cNvSpPr txBox="1"/>
          <p:nvPr/>
        </p:nvSpPr>
        <p:spPr>
          <a:xfrm>
            <a:off x="6751199" y="4144707"/>
            <a:ext cx="1302188" cy="52646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kk-KZ" sz="2800" dirty="0" smtClean="0">
                <a:solidFill>
                  <a:srgbClr val="FFD966"/>
                </a:solidFill>
              </a:rPr>
              <a:t>7061</a:t>
            </a:r>
            <a:endParaRPr lang="ru-RU" sz="2800" dirty="0">
              <a:solidFill>
                <a:srgbClr val="FFD966"/>
              </a:solidFill>
            </a:endParaRPr>
          </a:p>
        </p:txBody>
      </p:sp>
      <p:pic>
        <p:nvPicPr>
          <p:cNvPr id="53" name="Рисунок 52" descr="Исследование">
            <a:extLst>
              <a:ext uri="{FF2B5EF4-FFF2-40B4-BE49-F238E27FC236}">
                <a16:creationId xmlns:a16="http://schemas.microsoft.com/office/drawing/2014/main" xmlns="" id="{6C2C3D7D-B359-CAF0-AFCE-D0607896951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5B9BD5">
                <a:tint val="45000"/>
                <a:satMod val="400000"/>
              </a:srgbClr>
            </a:duotone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27146" y="4227643"/>
            <a:ext cx="287512" cy="29324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4" name="Рисунок 53" descr="Строитель">
            <a:extLst>
              <a:ext uri="{FF2B5EF4-FFF2-40B4-BE49-F238E27FC236}">
                <a16:creationId xmlns:a16="http://schemas.microsoft.com/office/drawing/2014/main" xmlns="" id="{8C13EDCD-8FD7-3D3E-EFDD-02711B09804E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prstClr val="black"/>
              <a:srgbClr val="A5A5A5">
                <a:tint val="45000"/>
                <a:satMod val="400000"/>
              </a:srgbClr>
            </a:duotone>
            <a:extLs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>
            <a:off x="6163373" y="2072355"/>
            <a:ext cx="335479" cy="33627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sp>
        <p:nvSpPr>
          <p:cNvPr id="55" name="TextBox 54"/>
          <p:cNvSpPr txBox="1"/>
          <p:nvPr/>
        </p:nvSpPr>
        <p:spPr>
          <a:xfrm>
            <a:off x="11922374" y="6581001"/>
            <a:ext cx="263214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k-KZ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6833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6114" name="Объект 4" hidden="1">
            <a:extLst>
              <a:ext uri="{FF2B5EF4-FFF2-40B4-BE49-F238E27FC236}">
                <a16:creationId xmlns="" xmlns:a16="http://schemas.microsoft.com/office/drawing/2014/main" id="{78A9CD0E-75AB-4DEF-A4D2-6AE619DF59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49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1200" dirty="0">
              <a:solidFill>
                <a:prstClr val="white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cxnSp>
        <p:nvCxnSpPr>
          <p:cNvPr id="233" name="Прямая соединительная линия 232">
            <a:extLst>
              <a:ext uri="{FF2B5EF4-FFF2-40B4-BE49-F238E27FC236}">
                <a16:creationId xmlns=""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318852" y="615950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18852" y="254992"/>
            <a:ext cx="11453018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altLang="en-US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Безопасность и охрана труда:</a:t>
            </a:r>
            <a:r>
              <a:rPr lang="ru-RU" alt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Внедрение стимулирующих мер по созданию безопасных условий труда</a:t>
            </a:r>
            <a:endParaRPr lang="ru-RU" alt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269839" y="6154827"/>
            <a:ext cx="702648" cy="370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6" name="Rectangle 36">
            <a:extLst>
              <a:ext uri="{FF2B5EF4-FFF2-40B4-BE49-F238E27FC236}">
                <a16:creationId xmlns="" xmlns:a16="http://schemas.microsoft.com/office/drawing/2014/main" id="{B7500AB8-0CD5-4F42-A136-24727C210005}"/>
              </a:ext>
            </a:extLst>
          </p:cNvPr>
          <p:cNvSpPr/>
          <p:nvPr/>
        </p:nvSpPr>
        <p:spPr bwMode="auto">
          <a:xfrm>
            <a:off x="351974" y="1006679"/>
            <a:ext cx="2698482" cy="5364800"/>
          </a:xfrm>
          <a:prstGeom prst="rect">
            <a:avLst/>
          </a:prstGeom>
          <a:solidFill>
            <a:srgbClr val="194B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182E2147-0743-4E3E-88DD-E8B5D10C546F}"/>
              </a:ext>
            </a:extLst>
          </p:cNvPr>
          <p:cNvSpPr/>
          <p:nvPr/>
        </p:nvSpPr>
        <p:spPr bwMode="auto">
          <a:xfrm>
            <a:off x="3137930" y="1027536"/>
            <a:ext cx="2698482" cy="5364800"/>
          </a:xfrm>
          <a:prstGeom prst="rect">
            <a:avLst/>
          </a:prstGeom>
          <a:solidFill>
            <a:srgbClr val="1C56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8" name="Rectangle 36">
            <a:extLst>
              <a:ext uri="{FF2B5EF4-FFF2-40B4-BE49-F238E27FC236}">
                <a16:creationId xmlns="" xmlns:a16="http://schemas.microsoft.com/office/drawing/2014/main" id="{2A90A505-9D46-401A-A8B6-562CA4D75E7C}"/>
              </a:ext>
            </a:extLst>
          </p:cNvPr>
          <p:cNvSpPr/>
          <p:nvPr/>
        </p:nvSpPr>
        <p:spPr bwMode="auto">
          <a:xfrm>
            <a:off x="8772681" y="1019298"/>
            <a:ext cx="2698482" cy="5364800"/>
          </a:xfrm>
          <a:prstGeom prst="rect">
            <a:avLst/>
          </a:prstGeom>
          <a:solidFill>
            <a:srgbClr val="0A6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68B39FE3-2964-4B51-94A7-E556877CFFFB}"/>
              </a:ext>
            </a:extLst>
          </p:cNvPr>
          <p:cNvGrpSpPr/>
          <p:nvPr/>
        </p:nvGrpSpPr>
        <p:grpSpPr>
          <a:xfrm>
            <a:off x="9381265" y="1435199"/>
            <a:ext cx="1259292" cy="1126608"/>
            <a:chOff x="2398371" y="1081723"/>
            <a:chExt cx="756000" cy="756000"/>
          </a:xfrm>
        </p:grpSpPr>
        <p:sp>
          <p:nvSpPr>
            <p:cNvPr id="42" name="Oval 40">
              <a:extLst>
                <a:ext uri="{FF2B5EF4-FFF2-40B4-BE49-F238E27FC236}">
                  <a16:creationId xmlns="" xmlns:a16="http://schemas.microsoft.com/office/drawing/2014/main" id="{2B406E1C-7065-43ED-87F6-76811016EAB2}"/>
                </a:ext>
              </a:extLst>
            </p:cNvPr>
            <p:cNvSpPr/>
            <p:nvPr/>
          </p:nvSpPr>
          <p:spPr bwMode="auto">
            <a:xfrm>
              <a:off x="2398371" y="1081723"/>
              <a:ext cx="756000" cy="756000"/>
            </a:xfrm>
            <a:prstGeom prst="ellipse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3" name="Oval 41">
              <a:extLst>
                <a:ext uri="{FF2B5EF4-FFF2-40B4-BE49-F238E27FC236}">
                  <a16:creationId xmlns="" xmlns:a16="http://schemas.microsoft.com/office/drawing/2014/main" id="{AD02019C-F0F1-48A0-AFF4-B802842DBB3B}"/>
                </a:ext>
              </a:extLst>
            </p:cNvPr>
            <p:cNvSpPr/>
            <p:nvPr/>
          </p:nvSpPr>
          <p:spPr bwMode="auto">
            <a:xfrm>
              <a:off x="2447585" y="1138555"/>
              <a:ext cx="648000" cy="64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438C35AB-8888-40FE-A97A-8D0496D16321}"/>
              </a:ext>
            </a:extLst>
          </p:cNvPr>
          <p:cNvSpPr/>
          <p:nvPr/>
        </p:nvSpPr>
        <p:spPr>
          <a:xfrm>
            <a:off x="391983" y="2662573"/>
            <a:ext cx="2698479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4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211</a:t>
            </a:r>
            <a:endParaRPr lang="en-US" sz="44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й</a:t>
            </a:r>
          </a:p>
          <a:p>
            <a:pPr algn="ctr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или стандарты по безопасности и охране труда</a:t>
            </a:r>
          </a:p>
        </p:txBody>
      </p:sp>
      <p:grpSp>
        <p:nvGrpSpPr>
          <p:cNvPr id="47" name="Группа 46">
            <a:extLst>
              <a:ext uri="{FF2B5EF4-FFF2-40B4-BE49-F238E27FC236}">
                <a16:creationId xmlns="" xmlns:a16="http://schemas.microsoft.com/office/drawing/2014/main" id="{B85012EB-F3F0-4BD6-9832-D4BB2FB05C02}"/>
              </a:ext>
            </a:extLst>
          </p:cNvPr>
          <p:cNvGrpSpPr/>
          <p:nvPr/>
        </p:nvGrpSpPr>
        <p:grpSpPr>
          <a:xfrm>
            <a:off x="9585148" y="1435199"/>
            <a:ext cx="1259292" cy="1126608"/>
            <a:chOff x="5305804" y="1089343"/>
            <a:chExt cx="756000" cy="756000"/>
          </a:xfrm>
        </p:grpSpPr>
        <p:sp>
          <p:nvSpPr>
            <p:cNvPr id="48" name="Oval 40">
              <a:extLst>
                <a:ext uri="{FF2B5EF4-FFF2-40B4-BE49-F238E27FC236}">
                  <a16:creationId xmlns="" xmlns:a16="http://schemas.microsoft.com/office/drawing/2014/main" id="{3412D169-B77E-4960-82E8-3C9E56CD4584}"/>
                </a:ext>
              </a:extLst>
            </p:cNvPr>
            <p:cNvSpPr/>
            <p:nvPr/>
          </p:nvSpPr>
          <p:spPr bwMode="auto">
            <a:xfrm>
              <a:off x="5305804" y="1089343"/>
              <a:ext cx="756000" cy="756000"/>
            </a:xfrm>
            <a:prstGeom prst="ellipse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9" name="Oval 41">
              <a:extLst>
                <a:ext uri="{FF2B5EF4-FFF2-40B4-BE49-F238E27FC236}">
                  <a16:creationId xmlns="" xmlns:a16="http://schemas.microsoft.com/office/drawing/2014/main" id="{08295470-D934-48A8-A636-9782FA2C9287}"/>
                </a:ext>
              </a:extLst>
            </p:cNvPr>
            <p:cNvSpPr/>
            <p:nvPr/>
          </p:nvSpPr>
          <p:spPr bwMode="auto">
            <a:xfrm>
              <a:off x="5355016" y="1146175"/>
              <a:ext cx="648000" cy="64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="" xmlns:a16="http://schemas.microsoft.com/office/drawing/2014/main" id="{C0CCF3E6-CF54-492A-8D7F-931DA594CDD8}"/>
              </a:ext>
            </a:extLst>
          </p:cNvPr>
          <p:cNvGrpSpPr/>
          <p:nvPr/>
        </p:nvGrpSpPr>
        <p:grpSpPr>
          <a:xfrm>
            <a:off x="1029453" y="1271322"/>
            <a:ext cx="1259292" cy="1126608"/>
            <a:chOff x="558845" y="1081723"/>
            <a:chExt cx="756000" cy="756000"/>
          </a:xfrm>
        </p:grpSpPr>
        <p:sp>
          <p:nvSpPr>
            <p:cNvPr id="53" name="Oval 40">
              <a:extLst>
                <a:ext uri="{FF2B5EF4-FFF2-40B4-BE49-F238E27FC236}">
                  <a16:creationId xmlns="" xmlns:a16="http://schemas.microsoft.com/office/drawing/2014/main" id="{28A9675E-B9DB-4951-86B0-1FC2F7FAF884}"/>
                </a:ext>
              </a:extLst>
            </p:cNvPr>
            <p:cNvSpPr/>
            <p:nvPr/>
          </p:nvSpPr>
          <p:spPr bwMode="auto">
            <a:xfrm>
              <a:off x="558845" y="1081723"/>
              <a:ext cx="756000" cy="756000"/>
            </a:xfrm>
            <a:prstGeom prst="ellipse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4" name="Oval 41">
              <a:extLst>
                <a:ext uri="{FF2B5EF4-FFF2-40B4-BE49-F238E27FC236}">
                  <a16:creationId xmlns="" xmlns:a16="http://schemas.microsoft.com/office/drawing/2014/main" id="{CF7CB943-8904-497E-81F0-72530406FD7A}"/>
                </a:ext>
              </a:extLst>
            </p:cNvPr>
            <p:cNvSpPr/>
            <p:nvPr/>
          </p:nvSpPr>
          <p:spPr bwMode="auto">
            <a:xfrm>
              <a:off x="608058" y="1138555"/>
              <a:ext cx="648000" cy="64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61" name="Shape 1856">
              <a:extLst>
                <a:ext uri="{FF2B5EF4-FFF2-40B4-BE49-F238E27FC236}">
                  <a16:creationId xmlns="" xmlns:a16="http://schemas.microsoft.com/office/drawing/2014/main" id="{9E8F84B2-A440-4BFB-A8A5-40E2BB102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595" y="1227558"/>
              <a:ext cx="324000" cy="396000"/>
            </a:xfrm>
            <a:custGeom>
              <a:avLst/>
              <a:gdLst>
                <a:gd name="T0" fmla="*/ 18469301 w 20964"/>
                <a:gd name="T1" fmla="*/ 56336543 h 20246"/>
                <a:gd name="T2" fmla="*/ 18469301 w 20964"/>
                <a:gd name="T3" fmla="*/ 56336543 h 20246"/>
                <a:gd name="T4" fmla="*/ 18469301 w 20964"/>
                <a:gd name="T5" fmla="*/ 56336543 h 20246"/>
                <a:gd name="T6" fmla="*/ 18469301 w 20964"/>
                <a:gd name="T7" fmla="*/ 56336543 h 20246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964" h="20246" extrusionOk="0">
                  <a:moveTo>
                    <a:pt x="5292" y="5719"/>
                  </a:moveTo>
                  <a:cubicBezTo>
                    <a:pt x="5012" y="3998"/>
                    <a:pt x="5012" y="2278"/>
                    <a:pt x="5292" y="940"/>
                  </a:cubicBezTo>
                  <a:cubicBezTo>
                    <a:pt x="10061" y="-1354"/>
                    <a:pt x="12025" y="1322"/>
                    <a:pt x="15672" y="940"/>
                  </a:cubicBezTo>
                  <a:cubicBezTo>
                    <a:pt x="15952" y="2469"/>
                    <a:pt x="15952" y="4381"/>
                    <a:pt x="15391" y="5527"/>
                  </a:cubicBezTo>
                  <a:cubicBezTo>
                    <a:pt x="15391" y="6483"/>
                    <a:pt x="14830" y="7057"/>
                    <a:pt x="14269" y="7630"/>
                  </a:cubicBezTo>
                  <a:cubicBezTo>
                    <a:pt x="13147" y="8395"/>
                    <a:pt x="12025" y="8968"/>
                    <a:pt x="10342" y="8968"/>
                  </a:cubicBezTo>
                  <a:cubicBezTo>
                    <a:pt x="10342" y="8968"/>
                    <a:pt x="10342" y="8968"/>
                    <a:pt x="10342" y="8968"/>
                  </a:cubicBezTo>
                  <a:cubicBezTo>
                    <a:pt x="8939" y="8968"/>
                    <a:pt x="7537" y="8395"/>
                    <a:pt x="6695" y="7630"/>
                  </a:cubicBezTo>
                  <a:cubicBezTo>
                    <a:pt x="6134" y="7057"/>
                    <a:pt x="5573" y="6483"/>
                    <a:pt x="5292" y="5719"/>
                  </a:cubicBezTo>
                  <a:close/>
                  <a:moveTo>
                    <a:pt x="3048" y="19290"/>
                  </a:moveTo>
                  <a:cubicBezTo>
                    <a:pt x="18196" y="19290"/>
                    <a:pt x="18196" y="19290"/>
                    <a:pt x="18196" y="19290"/>
                  </a:cubicBezTo>
                  <a:cubicBezTo>
                    <a:pt x="17355" y="20246"/>
                    <a:pt x="17355" y="20246"/>
                    <a:pt x="17355" y="20246"/>
                  </a:cubicBezTo>
                  <a:cubicBezTo>
                    <a:pt x="3890" y="20246"/>
                    <a:pt x="3890" y="20246"/>
                    <a:pt x="3890" y="20246"/>
                  </a:cubicBezTo>
                  <a:cubicBezTo>
                    <a:pt x="3048" y="19290"/>
                    <a:pt x="3048" y="19290"/>
                    <a:pt x="3048" y="19290"/>
                  </a:cubicBezTo>
                  <a:close/>
                  <a:moveTo>
                    <a:pt x="19038" y="11453"/>
                  </a:moveTo>
                  <a:cubicBezTo>
                    <a:pt x="20721" y="15850"/>
                    <a:pt x="20721" y="15850"/>
                    <a:pt x="20721" y="15850"/>
                  </a:cubicBezTo>
                  <a:cubicBezTo>
                    <a:pt x="21282" y="17379"/>
                    <a:pt x="21001" y="18526"/>
                    <a:pt x="18477" y="18526"/>
                  </a:cubicBezTo>
                  <a:cubicBezTo>
                    <a:pt x="17916" y="18526"/>
                    <a:pt x="17916" y="18526"/>
                    <a:pt x="17916" y="18526"/>
                  </a:cubicBezTo>
                  <a:cubicBezTo>
                    <a:pt x="17916" y="12600"/>
                    <a:pt x="17916" y="12600"/>
                    <a:pt x="17916" y="12600"/>
                  </a:cubicBezTo>
                  <a:cubicBezTo>
                    <a:pt x="11183" y="12600"/>
                    <a:pt x="11183" y="12600"/>
                    <a:pt x="11183" y="12600"/>
                  </a:cubicBezTo>
                  <a:cubicBezTo>
                    <a:pt x="13147" y="9542"/>
                    <a:pt x="13147" y="9542"/>
                    <a:pt x="13147" y="9542"/>
                  </a:cubicBezTo>
                  <a:cubicBezTo>
                    <a:pt x="13708" y="9159"/>
                    <a:pt x="13708" y="9159"/>
                    <a:pt x="13708" y="9159"/>
                  </a:cubicBezTo>
                  <a:cubicBezTo>
                    <a:pt x="17635" y="9733"/>
                    <a:pt x="17635" y="9733"/>
                    <a:pt x="17635" y="9733"/>
                  </a:cubicBezTo>
                  <a:cubicBezTo>
                    <a:pt x="17916" y="9733"/>
                    <a:pt x="17916" y="9733"/>
                    <a:pt x="17916" y="9733"/>
                  </a:cubicBezTo>
                  <a:cubicBezTo>
                    <a:pt x="17916" y="9924"/>
                    <a:pt x="17916" y="9924"/>
                    <a:pt x="17916" y="9924"/>
                  </a:cubicBezTo>
                  <a:cubicBezTo>
                    <a:pt x="18477" y="10306"/>
                    <a:pt x="18757" y="10880"/>
                    <a:pt x="19038" y="11644"/>
                  </a:cubicBezTo>
                  <a:cubicBezTo>
                    <a:pt x="19038" y="11453"/>
                    <a:pt x="19038" y="11453"/>
                    <a:pt x="19038" y="11453"/>
                  </a:cubicBezTo>
                  <a:close/>
                  <a:moveTo>
                    <a:pt x="3329" y="18526"/>
                  </a:moveTo>
                  <a:cubicBezTo>
                    <a:pt x="2487" y="18526"/>
                    <a:pt x="2487" y="18526"/>
                    <a:pt x="2487" y="18526"/>
                  </a:cubicBezTo>
                  <a:cubicBezTo>
                    <a:pt x="-37" y="18526"/>
                    <a:pt x="-318" y="17379"/>
                    <a:pt x="243" y="15850"/>
                  </a:cubicBezTo>
                  <a:cubicBezTo>
                    <a:pt x="1926" y="11453"/>
                    <a:pt x="1926" y="11453"/>
                    <a:pt x="1926" y="11453"/>
                  </a:cubicBezTo>
                  <a:cubicBezTo>
                    <a:pt x="1926" y="10880"/>
                    <a:pt x="2487" y="10306"/>
                    <a:pt x="3329" y="9733"/>
                  </a:cubicBezTo>
                  <a:cubicBezTo>
                    <a:pt x="3329" y="9733"/>
                    <a:pt x="3329" y="9733"/>
                    <a:pt x="3329" y="9733"/>
                  </a:cubicBezTo>
                  <a:cubicBezTo>
                    <a:pt x="3609" y="9733"/>
                    <a:pt x="3609" y="9733"/>
                    <a:pt x="3609" y="9733"/>
                  </a:cubicBezTo>
                  <a:cubicBezTo>
                    <a:pt x="7256" y="9159"/>
                    <a:pt x="7256" y="9159"/>
                    <a:pt x="7256" y="9159"/>
                  </a:cubicBezTo>
                  <a:cubicBezTo>
                    <a:pt x="7817" y="9542"/>
                    <a:pt x="7817" y="9542"/>
                    <a:pt x="7817" y="9542"/>
                  </a:cubicBezTo>
                  <a:cubicBezTo>
                    <a:pt x="10061" y="12600"/>
                    <a:pt x="10061" y="12600"/>
                    <a:pt x="10061" y="12600"/>
                  </a:cubicBezTo>
                  <a:cubicBezTo>
                    <a:pt x="3329" y="12600"/>
                    <a:pt x="3329" y="12600"/>
                    <a:pt x="3329" y="12600"/>
                  </a:cubicBezTo>
                  <a:lnTo>
                    <a:pt x="3329" y="18526"/>
                  </a:lnTo>
                  <a:close/>
                </a:path>
              </a:pathLst>
            </a:custGeom>
            <a:solidFill>
              <a:srgbClr val="1C5686"/>
            </a:solidFill>
            <a:ln>
              <a:noFill/>
            </a:ln>
          </p:spPr>
          <p:txBody>
            <a:bodyPr lIns="45719" rIns="45719"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80" name="Прямоугольник 79">
            <a:extLst>
              <a:ext uri="{FF2B5EF4-FFF2-40B4-BE49-F238E27FC236}">
                <a16:creationId xmlns="" xmlns:a16="http://schemas.microsoft.com/office/drawing/2014/main" id="{4EB1B8D7-30DB-460C-8922-100B7972C99F}"/>
              </a:ext>
            </a:extLst>
          </p:cNvPr>
          <p:cNvSpPr/>
          <p:nvPr/>
        </p:nvSpPr>
        <p:spPr>
          <a:xfrm>
            <a:off x="3068257" y="2651393"/>
            <a:ext cx="2698479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0 </a:t>
            </a:r>
            <a:r>
              <a:rPr lang="ru-RU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й </a:t>
            </a: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и внедрили проект «Народный контроль»</a:t>
            </a:r>
          </a:p>
        </p:txBody>
      </p:sp>
      <p:sp>
        <p:nvSpPr>
          <p:cNvPr id="81" name="Прямоугольник 80">
            <a:extLst>
              <a:ext uri="{FF2B5EF4-FFF2-40B4-BE49-F238E27FC236}">
                <a16:creationId xmlns="" xmlns:a16="http://schemas.microsoft.com/office/drawing/2014/main" id="{AA4F71EC-17C6-42A2-9CE9-CC098EF23CC3}"/>
              </a:ext>
            </a:extLst>
          </p:cNvPr>
          <p:cNvSpPr/>
          <p:nvPr/>
        </p:nvSpPr>
        <p:spPr>
          <a:xfrm>
            <a:off x="8692669" y="2864559"/>
            <a:ext cx="2890795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УЩЕН</a:t>
            </a: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ункционал «Онлайн трудовой консультант</a:t>
            </a:r>
            <a:r>
              <a:rPr lang="ru-RU" sz="28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algn="ctr"/>
            <a:r>
              <a:rPr lang="ru-RU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оспользовались </a:t>
            </a:r>
          </a:p>
          <a:p>
            <a:pPr algn="ctr"/>
            <a:r>
              <a:rPr lang="ru-RU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 42</a:t>
            </a:r>
            <a:r>
              <a:rPr lang="en-US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2000" b="1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одателей)</a:t>
            </a:r>
            <a:r>
              <a:rPr lang="ru-RU" sz="2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2457">
            <a:extLst>
              <a:ext uri="{FF2B5EF4-FFF2-40B4-BE49-F238E27FC236}">
                <a16:creationId xmlns="" xmlns:a16="http://schemas.microsoft.com/office/drawing/2014/main" id="{221C0EB4-7EB5-4C0F-BE66-E1F01458DDE7}"/>
              </a:ext>
            </a:extLst>
          </p:cNvPr>
          <p:cNvSpPr/>
          <p:nvPr/>
        </p:nvSpPr>
        <p:spPr>
          <a:xfrm>
            <a:off x="9805875" y="1627814"/>
            <a:ext cx="612476" cy="6211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1AA4BE"/>
          </a:solidFill>
          <a:ln>
            <a:solidFill>
              <a:srgbClr val="0066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endParaRPr dirty="0">
              <a:solidFill>
                <a:prstClr val="white"/>
              </a:solidFill>
              <a:sym typeface="Gill Sans"/>
            </a:endParaRPr>
          </a:p>
        </p:txBody>
      </p:sp>
      <p:sp>
        <p:nvSpPr>
          <p:cNvPr id="55" name="Shape 5598">
            <a:extLst>
              <a:ext uri="{FF2B5EF4-FFF2-40B4-BE49-F238E27FC236}">
                <a16:creationId xmlns="" xmlns:a16="http://schemas.microsoft.com/office/drawing/2014/main" id="{2AFC791E-07AD-4F06-A246-62A510672FF5}"/>
              </a:ext>
            </a:extLst>
          </p:cNvPr>
          <p:cNvSpPr/>
          <p:nvPr/>
        </p:nvSpPr>
        <p:spPr>
          <a:xfrm>
            <a:off x="10067809" y="1896699"/>
            <a:ext cx="694654" cy="6405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796" extrusionOk="0">
                <a:moveTo>
                  <a:pt x="10896" y="7999"/>
                </a:moveTo>
                <a:cubicBezTo>
                  <a:pt x="12042" y="7999"/>
                  <a:pt x="12998" y="8999"/>
                  <a:pt x="12998" y="10399"/>
                </a:cubicBezTo>
                <a:cubicBezTo>
                  <a:pt x="12998" y="11599"/>
                  <a:pt x="12042" y="12599"/>
                  <a:pt x="10896" y="12599"/>
                </a:cubicBezTo>
                <a:cubicBezTo>
                  <a:pt x="9558" y="12599"/>
                  <a:pt x="8602" y="11599"/>
                  <a:pt x="8602" y="10399"/>
                </a:cubicBezTo>
                <a:cubicBezTo>
                  <a:pt x="8602" y="8999"/>
                  <a:pt x="9558" y="7999"/>
                  <a:pt x="10896" y="7999"/>
                </a:cubicBezTo>
                <a:close/>
                <a:moveTo>
                  <a:pt x="9175" y="5999"/>
                </a:moveTo>
                <a:cubicBezTo>
                  <a:pt x="6881" y="5999"/>
                  <a:pt x="4970" y="6399"/>
                  <a:pt x="3632" y="6999"/>
                </a:cubicBezTo>
                <a:cubicBezTo>
                  <a:pt x="1338" y="7799"/>
                  <a:pt x="0" y="8999"/>
                  <a:pt x="0" y="10399"/>
                </a:cubicBezTo>
                <a:cubicBezTo>
                  <a:pt x="0" y="11599"/>
                  <a:pt x="1338" y="12799"/>
                  <a:pt x="3250" y="13599"/>
                </a:cubicBezTo>
                <a:cubicBezTo>
                  <a:pt x="2485" y="15599"/>
                  <a:pt x="2294" y="17399"/>
                  <a:pt x="3250" y="18199"/>
                </a:cubicBezTo>
                <a:cubicBezTo>
                  <a:pt x="4205" y="19199"/>
                  <a:pt x="5926" y="19199"/>
                  <a:pt x="8028" y="17999"/>
                </a:cubicBezTo>
                <a:cubicBezTo>
                  <a:pt x="9175" y="17399"/>
                  <a:pt x="10513" y="16399"/>
                  <a:pt x="11851" y="15199"/>
                </a:cubicBezTo>
                <a:cubicBezTo>
                  <a:pt x="9175" y="15199"/>
                  <a:pt x="9175" y="15199"/>
                  <a:pt x="9175" y="15199"/>
                </a:cubicBezTo>
                <a:cubicBezTo>
                  <a:pt x="8411" y="15799"/>
                  <a:pt x="7837" y="16199"/>
                  <a:pt x="7264" y="16399"/>
                </a:cubicBezTo>
                <a:cubicBezTo>
                  <a:pt x="5926" y="17199"/>
                  <a:pt x="4779" y="17399"/>
                  <a:pt x="4396" y="16999"/>
                </a:cubicBezTo>
                <a:cubicBezTo>
                  <a:pt x="4014" y="16599"/>
                  <a:pt x="4396" y="15599"/>
                  <a:pt x="4970" y="14199"/>
                </a:cubicBezTo>
                <a:cubicBezTo>
                  <a:pt x="4970" y="14199"/>
                  <a:pt x="4970" y="14199"/>
                  <a:pt x="4970" y="14199"/>
                </a:cubicBezTo>
                <a:cubicBezTo>
                  <a:pt x="6690" y="14599"/>
                  <a:pt x="8602" y="14799"/>
                  <a:pt x="10896" y="14799"/>
                </a:cubicBezTo>
                <a:cubicBezTo>
                  <a:pt x="12234" y="14799"/>
                  <a:pt x="13572" y="14599"/>
                  <a:pt x="14719" y="14399"/>
                </a:cubicBezTo>
                <a:cubicBezTo>
                  <a:pt x="14910" y="14999"/>
                  <a:pt x="14910" y="15599"/>
                  <a:pt x="15101" y="15999"/>
                </a:cubicBezTo>
                <a:cubicBezTo>
                  <a:pt x="15101" y="17599"/>
                  <a:pt x="15101" y="18599"/>
                  <a:pt x="14527" y="18799"/>
                </a:cubicBezTo>
                <a:cubicBezTo>
                  <a:pt x="14145" y="19199"/>
                  <a:pt x="13189" y="18599"/>
                  <a:pt x="12234" y="17399"/>
                </a:cubicBezTo>
                <a:cubicBezTo>
                  <a:pt x="11851" y="17199"/>
                  <a:pt x="11660" y="16799"/>
                  <a:pt x="11469" y="16399"/>
                </a:cubicBezTo>
                <a:cubicBezTo>
                  <a:pt x="9940" y="17399"/>
                  <a:pt x="9940" y="17399"/>
                  <a:pt x="9940" y="17399"/>
                </a:cubicBezTo>
                <a:cubicBezTo>
                  <a:pt x="10322" y="17799"/>
                  <a:pt x="10704" y="18199"/>
                  <a:pt x="10896" y="18599"/>
                </a:cubicBezTo>
                <a:cubicBezTo>
                  <a:pt x="12425" y="20399"/>
                  <a:pt x="14145" y="21199"/>
                  <a:pt x="15292" y="20599"/>
                </a:cubicBezTo>
                <a:cubicBezTo>
                  <a:pt x="16439" y="19999"/>
                  <a:pt x="17012" y="18199"/>
                  <a:pt x="16821" y="15799"/>
                </a:cubicBezTo>
                <a:cubicBezTo>
                  <a:pt x="16630" y="15399"/>
                  <a:pt x="16630" y="14799"/>
                  <a:pt x="16439" y="14199"/>
                </a:cubicBezTo>
                <a:cubicBezTo>
                  <a:pt x="17012" y="13999"/>
                  <a:pt x="17586" y="13799"/>
                  <a:pt x="18159" y="13599"/>
                </a:cubicBezTo>
                <a:cubicBezTo>
                  <a:pt x="20262" y="12999"/>
                  <a:pt x="21600" y="11799"/>
                  <a:pt x="21600" y="10399"/>
                </a:cubicBezTo>
                <a:cubicBezTo>
                  <a:pt x="21600" y="8999"/>
                  <a:pt x="20262" y="7799"/>
                  <a:pt x="18159" y="6999"/>
                </a:cubicBezTo>
                <a:cubicBezTo>
                  <a:pt x="16821" y="6599"/>
                  <a:pt x="15292" y="6199"/>
                  <a:pt x="13381" y="5999"/>
                </a:cubicBezTo>
                <a:cubicBezTo>
                  <a:pt x="13189" y="5799"/>
                  <a:pt x="13189" y="5399"/>
                  <a:pt x="12998" y="5199"/>
                </a:cubicBezTo>
                <a:cubicBezTo>
                  <a:pt x="13381" y="4799"/>
                  <a:pt x="13954" y="4399"/>
                  <a:pt x="14527" y="4199"/>
                </a:cubicBezTo>
                <a:cubicBezTo>
                  <a:pt x="15865" y="3599"/>
                  <a:pt x="16821" y="3199"/>
                  <a:pt x="17204" y="3599"/>
                </a:cubicBezTo>
                <a:cubicBezTo>
                  <a:pt x="17586" y="3999"/>
                  <a:pt x="17395" y="4999"/>
                  <a:pt x="16821" y="6199"/>
                </a:cubicBezTo>
                <a:cubicBezTo>
                  <a:pt x="18542" y="6599"/>
                  <a:pt x="18542" y="6599"/>
                  <a:pt x="18542" y="6599"/>
                </a:cubicBezTo>
                <a:cubicBezTo>
                  <a:pt x="19306" y="4799"/>
                  <a:pt x="19306" y="3199"/>
                  <a:pt x="18350" y="2399"/>
                </a:cubicBezTo>
                <a:cubicBezTo>
                  <a:pt x="17395" y="1399"/>
                  <a:pt x="15674" y="1599"/>
                  <a:pt x="13763" y="2599"/>
                </a:cubicBezTo>
                <a:cubicBezTo>
                  <a:pt x="13189" y="2799"/>
                  <a:pt x="12616" y="3199"/>
                  <a:pt x="12042" y="3599"/>
                </a:cubicBezTo>
                <a:cubicBezTo>
                  <a:pt x="11469" y="2999"/>
                  <a:pt x="11087" y="2599"/>
                  <a:pt x="10704" y="1999"/>
                </a:cubicBezTo>
                <a:cubicBezTo>
                  <a:pt x="9175" y="399"/>
                  <a:pt x="7455" y="-401"/>
                  <a:pt x="6308" y="199"/>
                </a:cubicBezTo>
                <a:cubicBezTo>
                  <a:pt x="5161" y="799"/>
                  <a:pt x="4588" y="2399"/>
                  <a:pt x="4970" y="4799"/>
                </a:cubicBezTo>
                <a:cubicBezTo>
                  <a:pt x="4970" y="4999"/>
                  <a:pt x="4970" y="5199"/>
                  <a:pt x="4970" y="5399"/>
                </a:cubicBezTo>
                <a:cubicBezTo>
                  <a:pt x="6690" y="5399"/>
                  <a:pt x="6690" y="5399"/>
                  <a:pt x="6690" y="5399"/>
                </a:cubicBezTo>
                <a:cubicBezTo>
                  <a:pt x="6690" y="4999"/>
                  <a:pt x="6690" y="4799"/>
                  <a:pt x="6499" y="4599"/>
                </a:cubicBezTo>
                <a:cubicBezTo>
                  <a:pt x="6499" y="2999"/>
                  <a:pt x="6499" y="1999"/>
                  <a:pt x="7073" y="1799"/>
                </a:cubicBezTo>
                <a:cubicBezTo>
                  <a:pt x="7455" y="1599"/>
                  <a:pt x="8411" y="2199"/>
                  <a:pt x="9366" y="3199"/>
                </a:cubicBezTo>
                <a:cubicBezTo>
                  <a:pt x="9749" y="3599"/>
                  <a:pt x="10131" y="4199"/>
                  <a:pt x="10513" y="4599"/>
                </a:cubicBezTo>
                <a:cubicBezTo>
                  <a:pt x="10131" y="4999"/>
                  <a:pt x="9558" y="5599"/>
                  <a:pt x="9175" y="5999"/>
                </a:cubicBezTo>
                <a:close/>
                <a:moveTo>
                  <a:pt x="14336" y="7999"/>
                </a:moveTo>
                <a:cubicBezTo>
                  <a:pt x="15674" y="8199"/>
                  <a:pt x="16630" y="8399"/>
                  <a:pt x="17586" y="8599"/>
                </a:cubicBezTo>
                <a:cubicBezTo>
                  <a:pt x="18924" y="9199"/>
                  <a:pt x="19880" y="9799"/>
                  <a:pt x="19880" y="10399"/>
                </a:cubicBezTo>
                <a:cubicBezTo>
                  <a:pt x="19880" y="10799"/>
                  <a:pt x="18924" y="11399"/>
                  <a:pt x="17586" y="11999"/>
                </a:cubicBezTo>
                <a:cubicBezTo>
                  <a:pt x="17012" y="12199"/>
                  <a:pt x="16630" y="12199"/>
                  <a:pt x="16057" y="12399"/>
                </a:cubicBezTo>
                <a:cubicBezTo>
                  <a:pt x="15674" y="11199"/>
                  <a:pt x="15292" y="9799"/>
                  <a:pt x="14719" y="8399"/>
                </a:cubicBezTo>
                <a:cubicBezTo>
                  <a:pt x="14527" y="8399"/>
                  <a:pt x="14527" y="8199"/>
                  <a:pt x="14336" y="7999"/>
                </a:cubicBezTo>
                <a:close/>
                <a:moveTo>
                  <a:pt x="14336" y="12799"/>
                </a:moveTo>
                <a:cubicBezTo>
                  <a:pt x="13954" y="11599"/>
                  <a:pt x="13572" y="10399"/>
                  <a:pt x="13189" y="9199"/>
                </a:cubicBezTo>
                <a:cubicBezTo>
                  <a:pt x="12807" y="8799"/>
                  <a:pt x="12616" y="8199"/>
                  <a:pt x="12425" y="7799"/>
                </a:cubicBezTo>
                <a:cubicBezTo>
                  <a:pt x="11851" y="7799"/>
                  <a:pt x="11278" y="7799"/>
                  <a:pt x="10896" y="7799"/>
                </a:cubicBezTo>
                <a:cubicBezTo>
                  <a:pt x="10513" y="7799"/>
                  <a:pt x="10131" y="7799"/>
                  <a:pt x="9749" y="7799"/>
                </a:cubicBezTo>
                <a:cubicBezTo>
                  <a:pt x="9558" y="7999"/>
                  <a:pt x="9366" y="8199"/>
                  <a:pt x="8984" y="8399"/>
                </a:cubicBezTo>
                <a:cubicBezTo>
                  <a:pt x="8984" y="8399"/>
                  <a:pt x="8984" y="8399"/>
                  <a:pt x="8984" y="8399"/>
                </a:cubicBezTo>
                <a:cubicBezTo>
                  <a:pt x="7837" y="9799"/>
                  <a:pt x="6690" y="11199"/>
                  <a:pt x="5926" y="12399"/>
                </a:cubicBezTo>
                <a:cubicBezTo>
                  <a:pt x="7264" y="12799"/>
                  <a:pt x="8984" y="12999"/>
                  <a:pt x="10896" y="12999"/>
                </a:cubicBezTo>
                <a:cubicBezTo>
                  <a:pt x="12042" y="12999"/>
                  <a:pt x="13189" y="12799"/>
                  <a:pt x="14336" y="12799"/>
                </a:cubicBezTo>
                <a:close/>
                <a:moveTo>
                  <a:pt x="4205" y="11999"/>
                </a:moveTo>
                <a:cubicBezTo>
                  <a:pt x="4205" y="11999"/>
                  <a:pt x="4205" y="11999"/>
                  <a:pt x="4205" y="11999"/>
                </a:cubicBezTo>
                <a:cubicBezTo>
                  <a:pt x="2676" y="11399"/>
                  <a:pt x="1720" y="10799"/>
                  <a:pt x="1720" y="10399"/>
                </a:cubicBezTo>
                <a:cubicBezTo>
                  <a:pt x="1720" y="9799"/>
                  <a:pt x="2676" y="9199"/>
                  <a:pt x="4205" y="8599"/>
                </a:cubicBezTo>
                <a:cubicBezTo>
                  <a:pt x="4970" y="8399"/>
                  <a:pt x="5926" y="8199"/>
                  <a:pt x="7073" y="7999"/>
                </a:cubicBezTo>
                <a:cubicBezTo>
                  <a:pt x="5926" y="9399"/>
                  <a:pt x="4970" y="10799"/>
                  <a:pt x="4205" y="11999"/>
                </a:cubicBezTo>
                <a:close/>
                <a:moveTo>
                  <a:pt x="12234" y="9599"/>
                </a:moveTo>
                <a:cubicBezTo>
                  <a:pt x="12042" y="10599"/>
                  <a:pt x="11660" y="11399"/>
                  <a:pt x="10896" y="11999"/>
                </a:cubicBezTo>
                <a:cubicBezTo>
                  <a:pt x="12042" y="11999"/>
                  <a:pt x="12616" y="10599"/>
                  <a:pt x="12234" y="9599"/>
                </a:cubicBezTo>
                <a:close/>
                <a:moveTo>
                  <a:pt x="9366" y="10999"/>
                </a:moveTo>
                <a:cubicBezTo>
                  <a:pt x="9366" y="10599"/>
                  <a:pt x="9558" y="10399"/>
                  <a:pt x="9558" y="10199"/>
                </a:cubicBezTo>
                <a:cubicBezTo>
                  <a:pt x="9366" y="9999"/>
                  <a:pt x="9366" y="9999"/>
                  <a:pt x="9366" y="9999"/>
                </a:cubicBezTo>
                <a:cubicBezTo>
                  <a:pt x="9175" y="10399"/>
                  <a:pt x="9175" y="10599"/>
                  <a:pt x="9366" y="10999"/>
                </a:cubicBezTo>
                <a:close/>
                <a:moveTo>
                  <a:pt x="9366" y="9599"/>
                </a:moveTo>
                <a:cubicBezTo>
                  <a:pt x="9749" y="9999"/>
                  <a:pt x="9749" y="9999"/>
                  <a:pt x="9749" y="9999"/>
                </a:cubicBezTo>
                <a:cubicBezTo>
                  <a:pt x="10131" y="9599"/>
                  <a:pt x="10513" y="9399"/>
                  <a:pt x="10896" y="8999"/>
                </a:cubicBezTo>
                <a:cubicBezTo>
                  <a:pt x="10704" y="8599"/>
                  <a:pt x="10704" y="8599"/>
                  <a:pt x="10704" y="8599"/>
                </a:cubicBezTo>
                <a:cubicBezTo>
                  <a:pt x="10131" y="8599"/>
                  <a:pt x="9558" y="8999"/>
                  <a:pt x="9366" y="9599"/>
                </a:cubicBezTo>
                <a:close/>
                <a:moveTo>
                  <a:pt x="11087" y="8599"/>
                </a:moveTo>
                <a:cubicBezTo>
                  <a:pt x="11087" y="8999"/>
                  <a:pt x="11087" y="8999"/>
                  <a:pt x="11087" y="8999"/>
                </a:cubicBezTo>
                <a:cubicBezTo>
                  <a:pt x="11278" y="8799"/>
                  <a:pt x="11278" y="8799"/>
                  <a:pt x="11469" y="8799"/>
                </a:cubicBezTo>
                <a:cubicBezTo>
                  <a:pt x="11278" y="8599"/>
                  <a:pt x="11087" y="8599"/>
                  <a:pt x="11087" y="8599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 w="12700">
            <a:miter lim="400000"/>
          </a:ln>
        </p:spPr>
        <p:txBody>
          <a:bodyPr tIns="91439" bIns="91439"/>
          <a:lstStyle/>
          <a:p>
            <a:pPr>
              <a:defRPr sz="3600">
                <a:latin typeface="Calibri"/>
                <a:ea typeface="Calibri"/>
                <a:cs typeface="Calibri"/>
                <a:sym typeface="Calibri"/>
              </a:defRPr>
            </a:pPr>
            <a:endParaRPr sz="3600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14FF66C8-03C7-45EB-A8C5-3C0ACFCE8823}"/>
              </a:ext>
            </a:extLst>
          </p:cNvPr>
          <p:cNvGrpSpPr/>
          <p:nvPr/>
        </p:nvGrpSpPr>
        <p:grpSpPr>
          <a:xfrm>
            <a:off x="3643338" y="1539509"/>
            <a:ext cx="1259292" cy="1126608"/>
            <a:chOff x="2280965" y="1113020"/>
            <a:chExt cx="756000" cy="756000"/>
          </a:xfrm>
        </p:grpSpPr>
        <p:sp>
          <p:nvSpPr>
            <p:cNvPr id="33" name="Oval 40">
              <a:extLst>
                <a:ext uri="{FF2B5EF4-FFF2-40B4-BE49-F238E27FC236}">
                  <a16:creationId xmlns="" xmlns:a16="http://schemas.microsoft.com/office/drawing/2014/main" id="{2755B76D-7F95-4CE1-8225-10157BD4F106}"/>
                </a:ext>
              </a:extLst>
            </p:cNvPr>
            <p:cNvSpPr/>
            <p:nvPr/>
          </p:nvSpPr>
          <p:spPr bwMode="auto">
            <a:xfrm>
              <a:off x="2280965" y="1113020"/>
              <a:ext cx="756000" cy="756000"/>
            </a:xfrm>
            <a:prstGeom prst="ellipse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5" name="Oval 41">
              <a:extLst>
                <a:ext uri="{FF2B5EF4-FFF2-40B4-BE49-F238E27FC236}">
                  <a16:creationId xmlns="" xmlns:a16="http://schemas.microsoft.com/office/drawing/2014/main" id="{CF2F8191-9C0F-4CF0-AA7C-7A87154D138B}"/>
                </a:ext>
              </a:extLst>
            </p:cNvPr>
            <p:cNvSpPr/>
            <p:nvPr/>
          </p:nvSpPr>
          <p:spPr bwMode="auto">
            <a:xfrm>
              <a:off x="2366596" y="1162080"/>
              <a:ext cx="648000" cy="64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40" name="Shape 1856">
            <a:extLst>
              <a:ext uri="{FF2B5EF4-FFF2-40B4-BE49-F238E27FC236}">
                <a16:creationId xmlns="" xmlns:a16="http://schemas.microsoft.com/office/drawing/2014/main" id="{A742A6C9-E83C-47BC-AF54-8099E8D0333E}"/>
              </a:ext>
            </a:extLst>
          </p:cNvPr>
          <p:cNvSpPr>
            <a:spLocks/>
          </p:cNvSpPr>
          <p:nvPr/>
        </p:nvSpPr>
        <p:spPr bwMode="auto">
          <a:xfrm>
            <a:off x="4003135" y="1759563"/>
            <a:ext cx="539697" cy="590128"/>
          </a:xfrm>
          <a:custGeom>
            <a:avLst/>
            <a:gdLst>
              <a:gd name="T0" fmla="*/ 18469301 w 20964"/>
              <a:gd name="T1" fmla="*/ 56336543 h 20246"/>
              <a:gd name="T2" fmla="*/ 18469301 w 20964"/>
              <a:gd name="T3" fmla="*/ 56336543 h 20246"/>
              <a:gd name="T4" fmla="*/ 18469301 w 20964"/>
              <a:gd name="T5" fmla="*/ 56336543 h 20246"/>
              <a:gd name="T6" fmla="*/ 18469301 w 20964"/>
              <a:gd name="T7" fmla="*/ 56336543 h 20246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964" h="20246" extrusionOk="0">
                <a:moveTo>
                  <a:pt x="5292" y="5719"/>
                </a:moveTo>
                <a:cubicBezTo>
                  <a:pt x="5012" y="3998"/>
                  <a:pt x="5012" y="2278"/>
                  <a:pt x="5292" y="940"/>
                </a:cubicBezTo>
                <a:cubicBezTo>
                  <a:pt x="10061" y="-1354"/>
                  <a:pt x="12025" y="1322"/>
                  <a:pt x="15672" y="940"/>
                </a:cubicBezTo>
                <a:cubicBezTo>
                  <a:pt x="15952" y="2469"/>
                  <a:pt x="15952" y="4381"/>
                  <a:pt x="15391" y="5527"/>
                </a:cubicBezTo>
                <a:cubicBezTo>
                  <a:pt x="15391" y="6483"/>
                  <a:pt x="14830" y="7057"/>
                  <a:pt x="14269" y="7630"/>
                </a:cubicBezTo>
                <a:cubicBezTo>
                  <a:pt x="13147" y="8395"/>
                  <a:pt x="12025" y="8968"/>
                  <a:pt x="10342" y="8968"/>
                </a:cubicBezTo>
                <a:cubicBezTo>
                  <a:pt x="10342" y="8968"/>
                  <a:pt x="10342" y="8968"/>
                  <a:pt x="10342" y="8968"/>
                </a:cubicBezTo>
                <a:cubicBezTo>
                  <a:pt x="8939" y="8968"/>
                  <a:pt x="7537" y="8395"/>
                  <a:pt x="6695" y="7630"/>
                </a:cubicBezTo>
                <a:cubicBezTo>
                  <a:pt x="6134" y="7057"/>
                  <a:pt x="5573" y="6483"/>
                  <a:pt x="5292" y="5719"/>
                </a:cubicBezTo>
                <a:close/>
                <a:moveTo>
                  <a:pt x="3048" y="19290"/>
                </a:moveTo>
                <a:cubicBezTo>
                  <a:pt x="18196" y="19290"/>
                  <a:pt x="18196" y="19290"/>
                  <a:pt x="18196" y="19290"/>
                </a:cubicBezTo>
                <a:cubicBezTo>
                  <a:pt x="17355" y="20246"/>
                  <a:pt x="17355" y="20246"/>
                  <a:pt x="17355" y="20246"/>
                </a:cubicBezTo>
                <a:cubicBezTo>
                  <a:pt x="3890" y="20246"/>
                  <a:pt x="3890" y="20246"/>
                  <a:pt x="3890" y="20246"/>
                </a:cubicBezTo>
                <a:cubicBezTo>
                  <a:pt x="3048" y="19290"/>
                  <a:pt x="3048" y="19290"/>
                  <a:pt x="3048" y="19290"/>
                </a:cubicBezTo>
                <a:close/>
                <a:moveTo>
                  <a:pt x="19038" y="11453"/>
                </a:moveTo>
                <a:cubicBezTo>
                  <a:pt x="20721" y="15850"/>
                  <a:pt x="20721" y="15850"/>
                  <a:pt x="20721" y="15850"/>
                </a:cubicBezTo>
                <a:cubicBezTo>
                  <a:pt x="21282" y="17379"/>
                  <a:pt x="21001" y="18526"/>
                  <a:pt x="18477" y="18526"/>
                </a:cubicBezTo>
                <a:cubicBezTo>
                  <a:pt x="17916" y="18526"/>
                  <a:pt x="17916" y="18526"/>
                  <a:pt x="17916" y="18526"/>
                </a:cubicBezTo>
                <a:cubicBezTo>
                  <a:pt x="17916" y="12600"/>
                  <a:pt x="17916" y="12600"/>
                  <a:pt x="17916" y="12600"/>
                </a:cubicBezTo>
                <a:cubicBezTo>
                  <a:pt x="11183" y="12600"/>
                  <a:pt x="11183" y="12600"/>
                  <a:pt x="11183" y="12600"/>
                </a:cubicBezTo>
                <a:cubicBezTo>
                  <a:pt x="13147" y="9542"/>
                  <a:pt x="13147" y="9542"/>
                  <a:pt x="13147" y="9542"/>
                </a:cubicBezTo>
                <a:cubicBezTo>
                  <a:pt x="13708" y="9159"/>
                  <a:pt x="13708" y="9159"/>
                  <a:pt x="13708" y="9159"/>
                </a:cubicBezTo>
                <a:cubicBezTo>
                  <a:pt x="17635" y="9733"/>
                  <a:pt x="17635" y="9733"/>
                  <a:pt x="17635" y="9733"/>
                </a:cubicBezTo>
                <a:cubicBezTo>
                  <a:pt x="17916" y="9733"/>
                  <a:pt x="17916" y="9733"/>
                  <a:pt x="17916" y="9733"/>
                </a:cubicBezTo>
                <a:cubicBezTo>
                  <a:pt x="17916" y="9924"/>
                  <a:pt x="17916" y="9924"/>
                  <a:pt x="17916" y="9924"/>
                </a:cubicBezTo>
                <a:cubicBezTo>
                  <a:pt x="18477" y="10306"/>
                  <a:pt x="18757" y="10880"/>
                  <a:pt x="19038" y="11644"/>
                </a:cubicBezTo>
                <a:cubicBezTo>
                  <a:pt x="19038" y="11453"/>
                  <a:pt x="19038" y="11453"/>
                  <a:pt x="19038" y="11453"/>
                </a:cubicBezTo>
                <a:close/>
                <a:moveTo>
                  <a:pt x="3329" y="18526"/>
                </a:moveTo>
                <a:cubicBezTo>
                  <a:pt x="2487" y="18526"/>
                  <a:pt x="2487" y="18526"/>
                  <a:pt x="2487" y="18526"/>
                </a:cubicBezTo>
                <a:cubicBezTo>
                  <a:pt x="-37" y="18526"/>
                  <a:pt x="-318" y="17379"/>
                  <a:pt x="243" y="15850"/>
                </a:cubicBezTo>
                <a:cubicBezTo>
                  <a:pt x="1926" y="11453"/>
                  <a:pt x="1926" y="11453"/>
                  <a:pt x="1926" y="11453"/>
                </a:cubicBezTo>
                <a:cubicBezTo>
                  <a:pt x="1926" y="10880"/>
                  <a:pt x="2487" y="10306"/>
                  <a:pt x="3329" y="9733"/>
                </a:cubicBezTo>
                <a:cubicBezTo>
                  <a:pt x="3329" y="9733"/>
                  <a:pt x="3329" y="9733"/>
                  <a:pt x="3329" y="9733"/>
                </a:cubicBezTo>
                <a:cubicBezTo>
                  <a:pt x="3609" y="9733"/>
                  <a:pt x="3609" y="9733"/>
                  <a:pt x="3609" y="9733"/>
                </a:cubicBezTo>
                <a:cubicBezTo>
                  <a:pt x="7256" y="9159"/>
                  <a:pt x="7256" y="9159"/>
                  <a:pt x="7256" y="9159"/>
                </a:cubicBezTo>
                <a:cubicBezTo>
                  <a:pt x="7817" y="9542"/>
                  <a:pt x="7817" y="9542"/>
                  <a:pt x="7817" y="9542"/>
                </a:cubicBezTo>
                <a:cubicBezTo>
                  <a:pt x="10061" y="12600"/>
                  <a:pt x="10061" y="12600"/>
                  <a:pt x="10061" y="12600"/>
                </a:cubicBezTo>
                <a:cubicBezTo>
                  <a:pt x="3329" y="12600"/>
                  <a:pt x="3329" y="12600"/>
                  <a:pt x="3329" y="12600"/>
                </a:cubicBezTo>
                <a:lnTo>
                  <a:pt x="3329" y="18526"/>
                </a:lnTo>
                <a:close/>
              </a:path>
            </a:pathLst>
          </a:custGeom>
          <a:solidFill>
            <a:srgbClr val="1C5686"/>
          </a:solidFill>
          <a:ln>
            <a:noFill/>
          </a:ln>
        </p:spPr>
        <p:txBody>
          <a:bodyPr lIns="45719" rIns="45719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4" name="Rectangle 36">
            <a:extLst>
              <a:ext uri="{FF2B5EF4-FFF2-40B4-BE49-F238E27FC236}">
                <a16:creationId xmlns="" xmlns:a16="http://schemas.microsoft.com/office/drawing/2014/main" id="{0858AC62-90DD-4833-90E3-F86E9B47D30D}"/>
              </a:ext>
            </a:extLst>
          </p:cNvPr>
          <p:cNvSpPr/>
          <p:nvPr/>
        </p:nvSpPr>
        <p:spPr bwMode="auto">
          <a:xfrm>
            <a:off x="5946090" y="1006679"/>
            <a:ext cx="2698482" cy="5364800"/>
          </a:xfrm>
          <a:prstGeom prst="rect">
            <a:avLst/>
          </a:prstGeom>
          <a:solidFill>
            <a:srgbClr val="0183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6" name="Группа 45">
            <a:extLst>
              <a:ext uri="{FF2B5EF4-FFF2-40B4-BE49-F238E27FC236}">
                <a16:creationId xmlns="" xmlns:a16="http://schemas.microsoft.com/office/drawing/2014/main" id="{6CD16279-C6E1-4D8F-ACAF-03426AB0AAB2}"/>
              </a:ext>
            </a:extLst>
          </p:cNvPr>
          <p:cNvGrpSpPr/>
          <p:nvPr/>
        </p:nvGrpSpPr>
        <p:grpSpPr>
          <a:xfrm>
            <a:off x="6746804" y="1472646"/>
            <a:ext cx="1259292" cy="1126608"/>
            <a:chOff x="7530331" y="1057718"/>
            <a:chExt cx="756000" cy="756000"/>
          </a:xfrm>
        </p:grpSpPr>
        <p:sp>
          <p:nvSpPr>
            <p:cNvPr id="50" name="Oval 40">
              <a:extLst>
                <a:ext uri="{FF2B5EF4-FFF2-40B4-BE49-F238E27FC236}">
                  <a16:creationId xmlns="" xmlns:a16="http://schemas.microsoft.com/office/drawing/2014/main" id="{AA219C15-5714-4183-A51C-1B943F847575}"/>
                </a:ext>
              </a:extLst>
            </p:cNvPr>
            <p:cNvSpPr/>
            <p:nvPr/>
          </p:nvSpPr>
          <p:spPr bwMode="auto">
            <a:xfrm>
              <a:off x="7530331" y="1057718"/>
              <a:ext cx="756000" cy="756000"/>
            </a:xfrm>
            <a:prstGeom prst="ellipse">
              <a:avLst/>
            </a:pr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6" name="Oval 41">
              <a:extLst>
                <a:ext uri="{FF2B5EF4-FFF2-40B4-BE49-F238E27FC236}">
                  <a16:creationId xmlns="" xmlns:a16="http://schemas.microsoft.com/office/drawing/2014/main" id="{363D9EBC-E196-4A0A-882F-81B30623E283}"/>
                </a:ext>
              </a:extLst>
            </p:cNvPr>
            <p:cNvSpPr/>
            <p:nvPr/>
          </p:nvSpPr>
          <p:spPr bwMode="auto">
            <a:xfrm>
              <a:off x="7579543" y="1114550"/>
              <a:ext cx="648000" cy="64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57" name="Shape 1875">
            <a:extLst>
              <a:ext uri="{FF2B5EF4-FFF2-40B4-BE49-F238E27FC236}">
                <a16:creationId xmlns="" xmlns:a16="http://schemas.microsoft.com/office/drawing/2014/main" id="{7BF34C92-6D41-4106-910F-8FAEA8DA2802}"/>
              </a:ext>
            </a:extLst>
          </p:cNvPr>
          <p:cNvSpPr>
            <a:spLocks/>
          </p:cNvSpPr>
          <p:nvPr/>
        </p:nvSpPr>
        <p:spPr bwMode="auto">
          <a:xfrm>
            <a:off x="7020472" y="1741356"/>
            <a:ext cx="713974" cy="492072"/>
          </a:xfrm>
          <a:custGeom>
            <a:avLst/>
            <a:gdLst>
              <a:gd name="T0" fmla="*/ 84537074 w 21600"/>
              <a:gd name="T1" fmla="*/ 38575554 h 21600"/>
              <a:gd name="T2" fmla="*/ 84537074 w 21600"/>
              <a:gd name="T3" fmla="*/ 38575554 h 21600"/>
              <a:gd name="T4" fmla="*/ 84537074 w 21600"/>
              <a:gd name="T5" fmla="*/ 38575554 h 21600"/>
              <a:gd name="T6" fmla="*/ 84537074 w 21600"/>
              <a:gd name="T7" fmla="*/ 38575554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4362" y="11880"/>
                </a:moveTo>
                <a:cubicBezTo>
                  <a:pt x="2700" y="19710"/>
                  <a:pt x="2700" y="19710"/>
                  <a:pt x="2700" y="19710"/>
                </a:cubicBezTo>
                <a:cubicBezTo>
                  <a:pt x="6854" y="19710"/>
                  <a:pt x="6854" y="19710"/>
                  <a:pt x="6854" y="19710"/>
                </a:cubicBezTo>
                <a:cubicBezTo>
                  <a:pt x="7892" y="21060"/>
                  <a:pt x="9138" y="21600"/>
                  <a:pt x="10592" y="21600"/>
                </a:cubicBezTo>
                <a:cubicBezTo>
                  <a:pt x="12046" y="21600"/>
                  <a:pt x="13292" y="21060"/>
                  <a:pt x="14331" y="19710"/>
                </a:cubicBezTo>
                <a:cubicBezTo>
                  <a:pt x="18069" y="19710"/>
                  <a:pt x="18069" y="19710"/>
                  <a:pt x="18069" y="19710"/>
                </a:cubicBezTo>
                <a:cubicBezTo>
                  <a:pt x="16823" y="11880"/>
                  <a:pt x="16823" y="11880"/>
                  <a:pt x="16823" y="11880"/>
                </a:cubicBezTo>
                <a:cubicBezTo>
                  <a:pt x="17862" y="11880"/>
                  <a:pt x="17862" y="11880"/>
                  <a:pt x="17862" y="11880"/>
                </a:cubicBezTo>
                <a:cubicBezTo>
                  <a:pt x="17862" y="7560"/>
                  <a:pt x="17862" y="7560"/>
                  <a:pt x="17862" y="7560"/>
                </a:cubicBezTo>
                <a:cubicBezTo>
                  <a:pt x="20146" y="6750"/>
                  <a:pt x="20146" y="6750"/>
                  <a:pt x="20146" y="6750"/>
                </a:cubicBezTo>
                <a:cubicBezTo>
                  <a:pt x="20146" y="9180"/>
                  <a:pt x="20146" y="9180"/>
                  <a:pt x="20146" y="9180"/>
                </a:cubicBezTo>
                <a:cubicBezTo>
                  <a:pt x="19731" y="13770"/>
                  <a:pt x="19731" y="13770"/>
                  <a:pt x="19731" y="13770"/>
                </a:cubicBezTo>
                <a:cubicBezTo>
                  <a:pt x="21392" y="13770"/>
                  <a:pt x="21392" y="13770"/>
                  <a:pt x="21392" y="13770"/>
                </a:cubicBezTo>
                <a:cubicBezTo>
                  <a:pt x="20977" y="9180"/>
                  <a:pt x="20977" y="9180"/>
                  <a:pt x="20977" y="9180"/>
                </a:cubicBezTo>
                <a:cubicBezTo>
                  <a:pt x="20977" y="6210"/>
                  <a:pt x="20977" y="6210"/>
                  <a:pt x="20977" y="6210"/>
                </a:cubicBezTo>
                <a:cubicBezTo>
                  <a:pt x="21600" y="5940"/>
                  <a:pt x="21600" y="5940"/>
                  <a:pt x="21600" y="5940"/>
                </a:cubicBezTo>
                <a:cubicBezTo>
                  <a:pt x="21600" y="4050"/>
                  <a:pt x="21600" y="4050"/>
                  <a:pt x="21600" y="4050"/>
                </a:cubicBezTo>
                <a:cubicBezTo>
                  <a:pt x="10800" y="0"/>
                  <a:pt x="10800" y="0"/>
                  <a:pt x="10800" y="0"/>
                </a:cubicBezTo>
                <a:cubicBezTo>
                  <a:pt x="0" y="4050"/>
                  <a:pt x="0" y="4050"/>
                  <a:pt x="0" y="4050"/>
                </a:cubicBezTo>
                <a:cubicBezTo>
                  <a:pt x="0" y="5940"/>
                  <a:pt x="0" y="5940"/>
                  <a:pt x="0" y="5940"/>
                </a:cubicBezTo>
                <a:cubicBezTo>
                  <a:pt x="3946" y="7560"/>
                  <a:pt x="3946" y="7560"/>
                  <a:pt x="3946" y="7560"/>
                </a:cubicBezTo>
                <a:cubicBezTo>
                  <a:pt x="3946" y="11880"/>
                  <a:pt x="3946" y="11880"/>
                  <a:pt x="3946" y="11880"/>
                </a:cubicBezTo>
                <a:cubicBezTo>
                  <a:pt x="4362" y="11880"/>
                  <a:pt x="4362" y="11880"/>
                  <a:pt x="4362" y="11880"/>
                </a:cubicBezTo>
                <a:close/>
                <a:moveTo>
                  <a:pt x="14746" y="11880"/>
                </a:moveTo>
                <a:cubicBezTo>
                  <a:pt x="14954" y="12420"/>
                  <a:pt x="14954" y="12690"/>
                  <a:pt x="14954" y="12960"/>
                </a:cubicBezTo>
                <a:cubicBezTo>
                  <a:pt x="14954" y="14850"/>
                  <a:pt x="14331" y="16470"/>
                  <a:pt x="13500" y="17820"/>
                </a:cubicBezTo>
                <a:cubicBezTo>
                  <a:pt x="12877" y="18900"/>
                  <a:pt x="11838" y="19710"/>
                  <a:pt x="10592" y="19710"/>
                </a:cubicBezTo>
                <a:cubicBezTo>
                  <a:pt x="9554" y="19710"/>
                  <a:pt x="8515" y="18900"/>
                  <a:pt x="7685" y="17820"/>
                </a:cubicBezTo>
                <a:cubicBezTo>
                  <a:pt x="6854" y="16470"/>
                  <a:pt x="6438" y="14850"/>
                  <a:pt x="6438" y="12960"/>
                </a:cubicBezTo>
                <a:cubicBezTo>
                  <a:pt x="6438" y="12690"/>
                  <a:pt x="6438" y="12420"/>
                  <a:pt x="6438" y="11880"/>
                </a:cubicBezTo>
                <a:lnTo>
                  <a:pt x="14746" y="11880"/>
                </a:lnTo>
                <a:close/>
              </a:path>
            </a:pathLst>
          </a:custGeom>
          <a:solidFill>
            <a:srgbClr val="0183A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="" xmlns:a16="http://schemas.microsoft.com/office/drawing/2014/main" id="{E7EEFDDF-D6D4-4A96-BEBC-922CDFA06C7A}"/>
              </a:ext>
            </a:extLst>
          </p:cNvPr>
          <p:cNvSpPr/>
          <p:nvPr/>
        </p:nvSpPr>
        <p:spPr>
          <a:xfrm>
            <a:off x="5906084" y="2734698"/>
            <a:ext cx="2698479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690</a:t>
            </a:r>
            <a:endParaRPr lang="en-US" sz="44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й</a:t>
            </a:r>
          </a:p>
          <a:p>
            <a:pPr algn="ctr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ют производственные советы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1922374" y="6581001"/>
            <a:ext cx="263214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k-KZ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0212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318852" y="514350"/>
            <a:ext cx="114540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18852" y="153392"/>
            <a:ext cx="11269663" cy="3077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kk-KZ" alt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План действий по обеспечению безопасного труда до 2025 года</a:t>
            </a:r>
            <a:endParaRPr lang="ru-RU" altLang="en-US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77060" y="5923364"/>
            <a:ext cx="11614915" cy="830996"/>
          </a:xfrm>
          <a:prstGeom prst="rect">
            <a:avLst/>
          </a:prstGeom>
          <a:solidFill>
            <a:srgbClr val="295E7E"/>
          </a:solidFill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 eaLnBrk="1" hangingPunct="1"/>
            <a:r>
              <a:rPr lang="ru-RU" altLang="ru-RU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В целях комплексного решения проблем в сфере охраны труда в текущем году Министерством труда и социальной защиты населения начата разработка проекта Концепции безопасного труда в Республике Казахстан до 2030 года</a:t>
            </a:r>
          </a:p>
        </p:txBody>
      </p:sp>
      <p:sp>
        <p:nvSpPr>
          <p:cNvPr id="28" name="Rectangle 46">
            <a:extLst>
              <a:ext uri="{FF2B5EF4-FFF2-40B4-BE49-F238E27FC236}">
                <a16:creationId xmlns:a16="http://schemas.microsoft.com/office/drawing/2014/main" xmlns="" id="{B821CF6E-5457-4D27-89BA-D2F71DA9BF95}"/>
              </a:ext>
            </a:extLst>
          </p:cNvPr>
          <p:cNvSpPr/>
          <p:nvPr/>
        </p:nvSpPr>
        <p:spPr>
          <a:xfrm>
            <a:off x="377060" y="697627"/>
            <a:ext cx="2469740" cy="5157073"/>
          </a:xfrm>
          <a:prstGeom prst="homePlate">
            <a:avLst>
              <a:gd name="adj" fmla="val 13243"/>
            </a:avLst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 rtlCol="0" anchor="t" anchorCtr="0"/>
          <a:lstStyle/>
          <a:p>
            <a:pPr algn="ctr"/>
            <a:endParaRPr lang="en-US" sz="140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0" name="ee4pHeader1">
            <a:extLst>
              <a:ext uri="{FF2B5EF4-FFF2-40B4-BE49-F238E27FC236}">
                <a16:creationId xmlns:a16="http://schemas.microsoft.com/office/drawing/2014/main" xmlns="" id="{F023789B-1FD1-4672-9524-86B2F777A16C}"/>
              </a:ext>
            </a:extLst>
          </p:cNvPr>
          <p:cNvSpPr txBox="1"/>
          <p:nvPr/>
        </p:nvSpPr>
        <p:spPr>
          <a:xfrm>
            <a:off x="521861" y="2365500"/>
            <a:ext cx="2077005" cy="170671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algn="ctr"/>
            <a:r>
              <a:rPr lang="ru-RU" sz="16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реализации данного Плана были внесены </a:t>
            </a:r>
            <a:r>
              <a:rPr lang="ru-RU" sz="1600" b="1" dirty="0" err="1" smtClean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ия</a:t>
            </a:r>
            <a:r>
              <a:rPr lang="ru-RU" sz="1600" b="1" dirty="0" smtClean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дополнения в ряд нормативных правовых актов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ee4pHeader1">
            <a:extLst>
              <a:ext uri="{FF2B5EF4-FFF2-40B4-BE49-F238E27FC236}">
                <a16:creationId xmlns:a16="http://schemas.microsoft.com/office/drawing/2014/main" xmlns="" id="{31309141-75FB-4BA8-BEBA-B6CA1B21EDFE}"/>
              </a:ext>
            </a:extLst>
          </p:cNvPr>
          <p:cNvSpPr txBox="1"/>
          <p:nvPr/>
        </p:nvSpPr>
        <p:spPr>
          <a:xfrm>
            <a:off x="2341674" y="631699"/>
            <a:ext cx="5178313" cy="87967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algn="ctr"/>
            <a:r>
              <a:rPr lang="ru-RU" sz="1600" b="1" dirty="0" smtClean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ПА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ee4pHeader1">
            <a:extLst>
              <a:ext uri="{FF2B5EF4-FFF2-40B4-BE49-F238E27FC236}">
                <a16:creationId xmlns:a16="http://schemas.microsoft.com/office/drawing/2014/main" xmlns="" id="{C3042CAA-CC6A-4AFD-BBF8-3C9C3B4A84AA}"/>
              </a:ext>
            </a:extLst>
          </p:cNvPr>
          <p:cNvSpPr txBox="1"/>
          <p:nvPr/>
        </p:nvSpPr>
        <p:spPr>
          <a:xfrm>
            <a:off x="7073900" y="490386"/>
            <a:ext cx="4864101" cy="87967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algn="ctr"/>
            <a:r>
              <a:rPr lang="ru-RU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детали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EE519A4E-085C-45F3-8130-F90013D4FD7D}"/>
              </a:ext>
            </a:extLst>
          </p:cNvPr>
          <p:cNvSpPr/>
          <p:nvPr/>
        </p:nvSpPr>
        <p:spPr>
          <a:xfrm>
            <a:off x="3018335" y="1686491"/>
            <a:ext cx="3611065" cy="864000"/>
          </a:xfrm>
          <a:prstGeom prst="rect">
            <a:avLst/>
          </a:prstGeom>
          <a:solidFill>
            <a:srgbClr val="295E7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/>
            <a:r>
              <a:rPr lang="ru-RU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ы 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я в Критерии оценки степени риска и проверочных листов за </a:t>
            </a:r>
            <a:r>
              <a:rPr lang="ru-RU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людением трудового 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одательства РК.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A9EEB452-5DA3-4493-9991-F3EFA46090A4}"/>
              </a:ext>
            </a:extLst>
          </p:cNvPr>
          <p:cNvSpPr/>
          <p:nvPr/>
        </p:nvSpPr>
        <p:spPr>
          <a:xfrm>
            <a:off x="3018334" y="2890176"/>
            <a:ext cx="3611065" cy="864000"/>
          </a:xfrm>
          <a:prstGeom prst="rect">
            <a:avLst/>
          </a:prstGeom>
          <a:solidFill>
            <a:srgbClr val="295E7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/>
            <a:r>
              <a:rPr lang="ru-RU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ы 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я и дополнения в Правила и сроки проведения обучения, инструктирования и проверок знаний по вопросам безопасности и охраны труда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9B36FEF0-CDF9-452A-A9F6-0089EB27A4BA}"/>
              </a:ext>
            </a:extLst>
          </p:cNvPr>
          <p:cNvSpPr/>
          <p:nvPr/>
        </p:nvSpPr>
        <p:spPr>
          <a:xfrm>
            <a:off x="2982297" y="4749067"/>
            <a:ext cx="3611065" cy="864000"/>
          </a:xfrm>
          <a:prstGeom prst="rect">
            <a:avLst/>
          </a:prstGeom>
          <a:solidFill>
            <a:srgbClr val="295E7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/>
            <a:r>
              <a:rPr lang="ru-RU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ы </a:t>
            </a:r>
            <a:r>
              <a:rPr lang="ru-RU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я в Межотраслевые типовые нормативы численности работников служб охраны труда </a:t>
            </a:r>
          </a:p>
        </p:txBody>
      </p:sp>
      <p:sp>
        <p:nvSpPr>
          <p:cNvPr id="37" name="Shape 5661">
            <a:extLst>
              <a:ext uri="{FF2B5EF4-FFF2-40B4-BE49-F238E27FC236}">
                <a16:creationId xmlns:a16="http://schemas.microsoft.com/office/drawing/2014/main" xmlns="" id="{EB26799A-7413-4779-AB27-2F6CE9F1BF02}"/>
              </a:ext>
            </a:extLst>
          </p:cNvPr>
          <p:cNvSpPr/>
          <p:nvPr/>
        </p:nvSpPr>
        <p:spPr>
          <a:xfrm>
            <a:off x="3159532" y="1979922"/>
            <a:ext cx="208030" cy="4694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095" y="0"/>
                </a:moveTo>
                <a:lnTo>
                  <a:pt x="19651" y="0"/>
                </a:lnTo>
                <a:lnTo>
                  <a:pt x="19651" y="3600"/>
                </a:lnTo>
                <a:lnTo>
                  <a:pt x="17540" y="3600"/>
                </a:lnTo>
                <a:lnTo>
                  <a:pt x="21600" y="17737"/>
                </a:lnTo>
                <a:lnTo>
                  <a:pt x="14617" y="21600"/>
                </a:lnTo>
                <a:lnTo>
                  <a:pt x="6659" y="18000"/>
                </a:lnTo>
                <a:lnTo>
                  <a:pt x="9095" y="10185"/>
                </a:lnTo>
                <a:lnTo>
                  <a:pt x="1786" y="13610"/>
                </a:lnTo>
                <a:lnTo>
                  <a:pt x="0" y="12293"/>
                </a:lnTo>
                <a:lnTo>
                  <a:pt x="10394" y="6234"/>
                </a:lnTo>
                <a:lnTo>
                  <a:pt x="11206" y="3600"/>
                </a:lnTo>
                <a:lnTo>
                  <a:pt x="9095" y="3600"/>
                </a:lnTo>
                <a:lnTo>
                  <a:pt x="9095" y="0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tIns="45720" bIns="45720"/>
          <a:lstStyle/>
          <a:p>
            <a:pPr defTabSz="457250">
              <a:defRPr sz="3600">
                <a:latin typeface="Calibri"/>
                <a:ea typeface="Calibri"/>
                <a:cs typeface="Calibri"/>
                <a:sym typeface="Calibri"/>
              </a:defRPr>
            </a:pPr>
            <a:endParaRPr sz="1801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5591">
            <a:extLst>
              <a:ext uri="{FF2B5EF4-FFF2-40B4-BE49-F238E27FC236}">
                <a16:creationId xmlns:a16="http://schemas.microsoft.com/office/drawing/2014/main" xmlns="" id="{F4E0994D-A5C2-401E-A49E-EFEC2061725B}"/>
              </a:ext>
            </a:extLst>
          </p:cNvPr>
          <p:cNvSpPr/>
          <p:nvPr/>
        </p:nvSpPr>
        <p:spPr>
          <a:xfrm>
            <a:off x="3121432" y="3296443"/>
            <a:ext cx="339264" cy="3880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968" y="0"/>
                </a:moveTo>
                <a:cubicBezTo>
                  <a:pt x="14040" y="0"/>
                  <a:pt x="14040" y="0"/>
                  <a:pt x="14040" y="0"/>
                </a:cubicBezTo>
                <a:cubicBezTo>
                  <a:pt x="14688" y="0"/>
                  <a:pt x="15336" y="196"/>
                  <a:pt x="15984" y="785"/>
                </a:cubicBezTo>
                <a:cubicBezTo>
                  <a:pt x="16416" y="1178"/>
                  <a:pt x="16632" y="1767"/>
                  <a:pt x="16632" y="2356"/>
                </a:cubicBezTo>
                <a:cubicBezTo>
                  <a:pt x="16632" y="6873"/>
                  <a:pt x="16632" y="6873"/>
                  <a:pt x="16632" y="6873"/>
                </a:cubicBezTo>
                <a:cubicBezTo>
                  <a:pt x="14688" y="7855"/>
                  <a:pt x="14688" y="7855"/>
                  <a:pt x="14688" y="7855"/>
                </a:cubicBezTo>
                <a:cubicBezTo>
                  <a:pt x="14688" y="2356"/>
                  <a:pt x="14688" y="2356"/>
                  <a:pt x="14688" y="2356"/>
                </a:cubicBezTo>
                <a:cubicBezTo>
                  <a:pt x="14688" y="2160"/>
                  <a:pt x="14688" y="2160"/>
                  <a:pt x="14472" y="1964"/>
                </a:cubicBezTo>
                <a:cubicBezTo>
                  <a:pt x="14472" y="1964"/>
                  <a:pt x="14256" y="1767"/>
                  <a:pt x="14040" y="1767"/>
                </a:cubicBezTo>
                <a:cubicBezTo>
                  <a:pt x="6048" y="1767"/>
                  <a:pt x="6048" y="1767"/>
                  <a:pt x="6048" y="1767"/>
                </a:cubicBezTo>
                <a:cubicBezTo>
                  <a:pt x="6048" y="2356"/>
                  <a:pt x="6048" y="2356"/>
                  <a:pt x="6048" y="2356"/>
                </a:cubicBezTo>
                <a:cubicBezTo>
                  <a:pt x="6048" y="3142"/>
                  <a:pt x="6048" y="3142"/>
                  <a:pt x="6048" y="3142"/>
                </a:cubicBezTo>
                <a:cubicBezTo>
                  <a:pt x="6048" y="3338"/>
                  <a:pt x="6048" y="3535"/>
                  <a:pt x="6048" y="3731"/>
                </a:cubicBezTo>
                <a:cubicBezTo>
                  <a:pt x="6048" y="4124"/>
                  <a:pt x="5832" y="4516"/>
                  <a:pt x="5400" y="4713"/>
                </a:cubicBezTo>
                <a:cubicBezTo>
                  <a:pt x="5184" y="4909"/>
                  <a:pt x="4968" y="5105"/>
                  <a:pt x="4536" y="5105"/>
                </a:cubicBezTo>
                <a:cubicBezTo>
                  <a:pt x="4320" y="5105"/>
                  <a:pt x="4104" y="5105"/>
                  <a:pt x="3888" y="5105"/>
                </a:cubicBezTo>
                <a:cubicBezTo>
                  <a:pt x="3024" y="5105"/>
                  <a:pt x="3024" y="5105"/>
                  <a:pt x="3024" y="5105"/>
                </a:cubicBezTo>
                <a:cubicBezTo>
                  <a:pt x="1944" y="4909"/>
                  <a:pt x="1944" y="4909"/>
                  <a:pt x="1944" y="4909"/>
                </a:cubicBezTo>
                <a:cubicBezTo>
                  <a:pt x="1944" y="16691"/>
                  <a:pt x="1944" y="16691"/>
                  <a:pt x="1944" y="16691"/>
                </a:cubicBezTo>
                <a:cubicBezTo>
                  <a:pt x="1944" y="16887"/>
                  <a:pt x="2160" y="16887"/>
                  <a:pt x="2160" y="17084"/>
                </a:cubicBezTo>
                <a:cubicBezTo>
                  <a:pt x="2160" y="17084"/>
                  <a:pt x="2160" y="17084"/>
                  <a:pt x="2160" y="17084"/>
                </a:cubicBezTo>
                <a:cubicBezTo>
                  <a:pt x="2376" y="17084"/>
                  <a:pt x="2376" y="17280"/>
                  <a:pt x="2592" y="17280"/>
                </a:cubicBezTo>
                <a:cubicBezTo>
                  <a:pt x="9720" y="17280"/>
                  <a:pt x="9720" y="17280"/>
                  <a:pt x="9720" y="17280"/>
                </a:cubicBezTo>
                <a:cubicBezTo>
                  <a:pt x="9504" y="19047"/>
                  <a:pt x="9504" y="19047"/>
                  <a:pt x="9504" y="19047"/>
                </a:cubicBezTo>
                <a:cubicBezTo>
                  <a:pt x="2592" y="19047"/>
                  <a:pt x="2592" y="19047"/>
                  <a:pt x="2592" y="19047"/>
                </a:cubicBezTo>
                <a:cubicBezTo>
                  <a:pt x="1944" y="19047"/>
                  <a:pt x="1296" y="18851"/>
                  <a:pt x="864" y="18262"/>
                </a:cubicBezTo>
                <a:cubicBezTo>
                  <a:pt x="864" y="18262"/>
                  <a:pt x="864" y="18262"/>
                  <a:pt x="864" y="18262"/>
                </a:cubicBezTo>
                <a:cubicBezTo>
                  <a:pt x="864" y="18262"/>
                  <a:pt x="864" y="18262"/>
                  <a:pt x="864" y="18262"/>
                </a:cubicBezTo>
                <a:cubicBezTo>
                  <a:pt x="432" y="17869"/>
                  <a:pt x="0" y="17280"/>
                  <a:pt x="0" y="16691"/>
                </a:cubicBezTo>
                <a:cubicBezTo>
                  <a:pt x="0" y="4320"/>
                  <a:pt x="0" y="4320"/>
                  <a:pt x="0" y="4320"/>
                </a:cubicBezTo>
                <a:cubicBezTo>
                  <a:pt x="0" y="3927"/>
                  <a:pt x="0" y="3927"/>
                  <a:pt x="0" y="3927"/>
                </a:cubicBezTo>
                <a:cubicBezTo>
                  <a:pt x="432" y="3731"/>
                  <a:pt x="432" y="3731"/>
                  <a:pt x="432" y="3731"/>
                </a:cubicBezTo>
                <a:cubicBezTo>
                  <a:pt x="4320" y="196"/>
                  <a:pt x="4320" y="196"/>
                  <a:pt x="4320" y="196"/>
                </a:cubicBezTo>
                <a:cubicBezTo>
                  <a:pt x="4536" y="0"/>
                  <a:pt x="4536" y="0"/>
                  <a:pt x="4536" y="0"/>
                </a:cubicBezTo>
                <a:cubicBezTo>
                  <a:pt x="4968" y="0"/>
                  <a:pt x="4968" y="0"/>
                  <a:pt x="4968" y="0"/>
                </a:cubicBezTo>
                <a:close/>
                <a:moveTo>
                  <a:pt x="19440" y="8836"/>
                </a:moveTo>
                <a:cubicBezTo>
                  <a:pt x="19440" y="8444"/>
                  <a:pt x="19440" y="8444"/>
                  <a:pt x="19440" y="8444"/>
                </a:cubicBezTo>
                <a:cubicBezTo>
                  <a:pt x="18144" y="7658"/>
                  <a:pt x="18144" y="7658"/>
                  <a:pt x="18144" y="7658"/>
                </a:cubicBezTo>
                <a:cubicBezTo>
                  <a:pt x="16200" y="8640"/>
                  <a:pt x="16200" y="8640"/>
                  <a:pt x="16200" y="8640"/>
                </a:cubicBezTo>
                <a:cubicBezTo>
                  <a:pt x="17928" y="9229"/>
                  <a:pt x="17928" y="9229"/>
                  <a:pt x="17928" y="9229"/>
                </a:cubicBezTo>
                <a:cubicBezTo>
                  <a:pt x="19656" y="10211"/>
                  <a:pt x="19656" y="10211"/>
                  <a:pt x="19656" y="10211"/>
                </a:cubicBezTo>
                <a:cubicBezTo>
                  <a:pt x="20304" y="10407"/>
                  <a:pt x="20304" y="10407"/>
                  <a:pt x="20304" y="10407"/>
                </a:cubicBezTo>
                <a:cubicBezTo>
                  <a:pt x="19872" y="12175"/>
                  <a:pt x="19008" y="13745"/>
                  <a:pt x="17712" y="15120"/>
                </a:cubicBezTo>
                <a:cubicBezTo>
                  <a:pt x="18576" y="15905"/>
                  <a:pt x="18576" y="15905"/>
                  <a:pt x="18576" y="15905"/>
                </a:cubicBezTo>
                <a:cubicBezTo>
                  <a:pt x="20088" y="14335"/>
                  <a:pt x="21168" y="12371"/>
                  <a:pt x="21600" y="10407"/>
                </a:cubicBezTo>
                <a:cubicBezTo>
                  <a:pt x="21600" y="10015"/>
                  <a:pt x="21600" y="10015"/>
                  <a:pt x="21600" y="10015"/>
                </a:cubicBezTo>
                <a:cubicBezTo>
                  <a:pt x="21168" y="9818"/>
                  <a:pt x="21168" y="9818"/>
                  <a:pt x="21168" y="9818"/>
                </a:cubicBezTo>
                <a:cubicBezTo>
                  <a:pt x="19440" y="8836"/>
                  <a:pt x="19440" y="8836"/>
                  <a:pt x="19440" y="8836"/>
                </a:cubicBezTo>
                <a:close/>
                <a:moveTo>
                  <a:pt x="15984" y="9229"/>
                </a:moveTo>
                <a:cubicBezTo>
                  <a:pt x="13824" y="11389"/>
                  <a:pt x="12528" y="13745"/>
                  <a:pt x="11664" y="16495"/>
                </a:cubicBezTo>
                <a:cubicBezTo>
                  <a:pt x="12744" y="16887"/>
                  <a:pt x="13824" y="17476"/>
                  <a:pt x="15120" y="18065"/>
                </a:cubicBezTo>
                <a:cubicBezTo>
                  <a:pt x="16848" y="15905"/>
                  <a:pt x="18360" y="13353"/>
                  <a:pt x="19440" y="10800"/>
                </a:cubicBezTo>
                <a:cubicBezTo>
                  <a:pt x="18144" y="10211"/>
                  <a:pt x="17064" y="9818"/>
                  <a:pt x="15984" y="9229"/>
                </a:cubicBezTo>
                <a:close/>
                <a:moveTo>
                  <a:pt x="11232" y="17084"/>
                </a:moveTo>
                <a:cubicBezTo>
                  <a:pt x="10800" y="20225"/>
                  <a:pt x="10800" y="20225"/>
                  <a:pt x="10800" y="20225"/>
                </a:cubicBezTo>
                <a:cubicBezTo>
                  <a:pt x="11016" y="20225"/>
                  <a:pt x="11016" y="20225"/>
                  <a:pt x="11016" y="20225"/>
                </a:cubicBezTo>
                <a:cubicBezTo>
                  <a:pt x="10800" y="21207"/>
                  <a:pt x="10800" y="21207"/>
                  <a:pt x="10800" y="21207"/>
                </a:cubicBezTo>
                <a:cubicBezTo>
                  <a:pt x="11232" y="21600"/>
                  <a:pt x="11232" y="21600"/>
                  <a:pt x="11232" y="21600"/>
                </a:cubicBezTo>
                <a:cubicBezTo>
                  <a:pt x="11880" y="20815"/>
                  <a:pt x="11880" y="20815"/>
                  <a:pt x="11880" y="20815"/>
                </a:cubicBezTo>
                <a:cubicBezTo>
                  <a:pt x="12096" y="20815"/>
                  <a:pt x="12096" y="20815"/>
                  <a:pt x="12096" y="20815"/>
                </a:cubicBezTo>
                <a:cubicBezTo>
                  <a:pt x="14688" y="18655"/>
                  <a:pt x="14688" y="18655"/>
                  <a:pt x="14688" y="18655"/>
                </a:cubicBezTo>
                <a:cubicBezTo>
                  <a:pt x="11232" y="17084"/>
                  <a:pt x="11232" y="17084"/>
                  <a:pt x="11232" y="17084"/>
                </a:cubicBezTo>
                <a:close/>
                <a:moveTo>
                  <a:pt x="3888" y="10996"/>
                </a:moveTo>
                <a:cubicBezTo>
                  <a:pt x="3888" y="11782"/>
                  <a:pt x="3888" y="11782"/>
                  <a:pt x="3888" y="11782"/>
                </a:cubicBezTo>
                <a:cubicBezTo>
                  <a:pt x="6480" y="11782"/>
                  <a:pt x="6480" y="11782"/>
                  <a:pt x="6480" y="11782"/>
                </a:cubicBezTo>
                <a:cubicBezTo>
                  <a:pt x="6480" y="10996"/>
                  <a:pt x="6480" y="10996"/>
                  <a:pt x="6480" y="10996"/>
                </a:cubicBezTo>
                <a:cubicBezTo>
                  <a:pt x="3888" y="10996"/>
                  <a:pt x="3888" y="10996"/>
                  <a:pt x="3888" y="10996"/>
                </a:cubicBezTo>
                <a:close/>
                <a:moveTo>
                  <a:pt x="3888" y="8444"/>
                </a:moveTo>
                <a:cubicBezTo>
                  <a:pt x="3888" y="9425"/>
                  <a:pt x="3888" y="9425"/>
                  <a:pt x="3888" y="9425"/>
                </a:cubicBezTo>
                <a:cubicBezTo>
                  <a:pt x="12960" y="9425"/>
                  <a:pt x="12960" y="9425"/>
                  <a:pt x="12960" y="9425"/>
                </a:cubicBezTo>
                <a:cubicBezTo>
                  <a:pt x="12960" y="8444"/>
                  <a:pt x="12960" y="8444"/>
                  <a:pt x="12960" y="8444"/>
                </a:cubicBezTo>
                <a:cubicBezTo>
                  <a:pt x="3888" y="8444"/>
                  <a:pt x="3888" y="8444"/>
                  <a:pt x="3888" y="8444"/>
                </a:cubicBezTo>
                <a:close/>
                <a:moveTo>
                  <a:pt x="3888" y="6087"/>
                </a:moveTo>
                <a:cubicBezTo>
                  <a:pt x="3888" y="7069"/>
                  <a:pt x="3888" y="7069"/>
                  <a:pt x="3888" y="7069"/>
                </a:cubicBezTo>
                <a:cubicBezTo>
                  <a:pt x="12960" y="7069"/>
                  <a:pt x="12960" y="7069"/>
                  <a:pt x="12960" y="7069"/>
                </a:cubicBezTo>
                <a:cubicBezTo>
                  <a:pt x="12960" y="6087"/>
                  <a:pt x="12960" y="6087"/>
                  <a:pt x="12960" y="6087"/>
                </a:cubicBezTo>
                <a:cubicBezTo>
                  <a:pt x="3888" y="6087"/>
                  <a:pt x="3888" y="6087"/>
                  <a:pt x="3888" y="6087"/>
                </a:cubicBezTo>
                <a:close/>
                <a:moveTo>
                  <a:pt x="7992" y="3731"/>
                </a:moveTo>
                <a:cubicBezTo>
                  <a:pt x="7992" y="4713"/>
                  <a:pt x="7992" y="4713"/>
                  <a:pt x="7992" y="4713"/>
                </a:cubicBezTo>
                <a:cubicBezTo>
                  <a:pt x="12960" y="4713"/>
                  <a:pt x="12960" y="4713"/>
                  <a:pt x="12960" y="4713"/>
                </a:cubicBezTo>
                <a:cubicBezTo>
                  <a:pt x="12960" y="3731"/>
                  <a:pt x="12960" y="3731"/>
                  <a:pt x="12960" y="3731"/>
                </a:cubicBezTo>
                <a:cubicBezTo>
                  <a:pt x="7992" y="3731"/>
                  <a:pt x="7992" y="3731"/>
                  <a:pt x="7992" y="3731"/>
                </a:cubicBezTo>
                <a:close/>
                <a:moveTo>
                  <a:pt x="2592" y="4124"/>
                </a:moveTo>
                <a:cubicBezTo>
                  <a:pt x="3024" y="4124"/>
                  <a:pt x="3024" y="4124"/>
                  <a:pt x="3024" y="4124"/>
                </a:cubicBezTo>
                <a:cubicBezTo>
                  <a:pt x="3888" y="4320"/>
                  <a:pt x="3888" y="4320"/>
                  <a:pt x="3888" y="4320"/>
                </a:cubicBezTo>
                <a:cubicBezTo>
                  <a:pt x="3888" y="4320"/>
                  <a:pt x="3888" y="4320"/>
                  <a:pt x="3888" y="4320"/>
                </a:cubicBezTo>
                <a:cubicBezTo>
                  <a:pt x="4104" y="4320"/>
                  <a:pt x="4104" y="4320"/>
                  <a:pt x="4104" y="4320"/>
                </a:cubicBezTo>
                <a:cubicBezTo>
                  <a:pt x="4104" y="4320"/>
                  <a:pt x="4104" y="4320"/>
                  <a:pt x="4320" y="4320"/>
                </a:cubicBezTo>
                <a:cubicBezTo>
                  <a:pt x="4536" y="4320"/>
                  <a:pt x="4752" y="4124"/>
                  <a:pt x="4752" y="3927"/>
                </a:cubicBezTo>
                <a:cubicBezTo>
                  <a:pt x="4968" y="3927"/>
                  <a:pt x="5184" y="3731"/>
                  <a:pt x="5184" y="3535"/>
                </a:cubicBezTo>
                <a:cubicBezTo>
                  <a:pt x="5184" y="3535"/>
                  <a:pt x="5184" y="3338"/>
                  <a:pt x="5184" y="3338"/>
                </a:cubicBezTo>
                <a:cubicBezTo>
                  <a:pt x="5184" y="3338"/>
                  <a:pt x="5184" y="3338"/>
                  <a:pt x="5184" y="3338"/>
                </a:cubicBezTo>
                <a:cubicBezTo>
                  <a:pt x="5184" y="3142"/>
                  <a:pt x="5184" y="3142"/>
                  <a:pt x="5184" y="3142"/>
                </a:cubicBezTo>
                <a:cubicBezTo>
                  <a:pt x="4968" y="2356"/>
                  <a:pt x="4968" y="2356"/>
                  <a:pt x="4968" y="2356"/>
                </a:cubicBezTo>
                <a:cubicBezTo>
                  <a:pt x="4968" y="2160"/>
                  <a:pt x="4968" y="2160"/>
                  <a:pt x="4968" y="2160"/>
                </a:cubicBezTo>
                <a:lnTo>
                  <a:pt x="2592" y="4124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tIns="45720" bIns="45720"/>
          <a:lstStyle/>
          <a:p>
            <a:pPr defTabSz="457250">
              <a:defRPr sz="3600">
                <a:latin typeface="Calibri"/>
                <a:ea typeface="Calibri"/>
                <a:cs typeface="Calibri"/>
                <a:sym typeface="Calibri"/>
              </a:defRPr>
            </a:pPr>
            <a:endParaRPr sz="1801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Shape 5630">
            <a:extLst>
              <a:ext uri="{FF2B5EF4-FFF2-40B4-BE49-F238E27FC236}">
                <a16:creationId xmlns:a16="http://schemas.microsoft.com/office/drawing/2014/main" xmlns="" id="{B8DB3661-054E-49EC-84B0-1B25209E4D2B}"/>
              </a:ext>
            </a:extLst>
          </p:cNvPr>
          <p:cNvSpPr/>
          <p:nvPr/>
        </p:nvSpPr>
        <p:spPr>
          <a:xfrm>
            <a:off x="3121432" y="4999779"/>
            <a:ext cx="323242" cy="362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1" y="0"/>
                </a:moveTo>
                <a:cubicBezTo>
                  <a:pt x="20671" y="0"/>
                  <a:pt x="20671" y="0"/>
                  <a:pt x="20671" y="0"/>
                </a:cubicBezTo>
                <a:cubicBezTo>
                  <a:pt x="21600" y="0"/>
                  <a:pt x="21600" y="0"/>
                  <a:pt x="21600" y="0"/>
                </a:cubicBezTo>
                <a:cubicBezTo>
                  <a:pt x="21600" y="1227"/>
                  <a:pt x="21600" y="1227"/>
                  <a:pt x="21600" y="1227"/>
                </a:cubicBezTo>
                <a:cubicBezTo>
                  <a:pt x="21600" y="16936"/>
                  <a:pt x="21600" y="16936"/>
                  <a:pt x="21600" y="16936"/>
                </a:cubicBezTo>
                <a:cubicBezTo>
                  <a:pt x="21600" y="18164"/>
                  <a:pt x="21600" y="18164"/>
                  <a:pt x="21600" y="18164"/>
                </a:cubicBezTo>
                <a:cubicBezTo>
                  <a:pt x="20671" y="18164"/>
                  <a:pt x="20671" y="18164"/>
                  <a:pt x="20671" y="18164"/>
                </a:cubicBezTo>
                <a:cubicBezTo>
                  <a:pt x="18813" y="18164"/>
                  <a:pt x="18813" y="18164"/>
                  <a:pt x="18813" y="18164"/>
                </a:cubicBezTo>
                <a:cubicBezTo>
                  <a:pt x="18581" y="17673"/>
                  <a:pt x="18581" y="17673"/>
                  <a:pt x="18581" y="17673"/>
                </a:cubicBezTo>
                <a:cubicBezTo>
                  <a:pt x="18813" y="16936"/>
                  <a:pt x="19045" y="16445"/>
                  <a:pt x="19045" y="15955"/>
                </a:cubicBezTo>
                <a:cubicBezTo>
                  <a:pt x="19510" y="15955"/>
                  <a:pt x="19510" y="15955"/>
                  <a:pt x="19510" y="15955"/>
                </a:cubicBezTo>
                <a:cubicBezTo>
                  <a:pt x="19510" y="2455"/>
                  <a:pt x="19510" y="2455"/>
                  <a:pt x="19510" y="2455"/>
                </a:cubicBezTo>
                <a:cubicBezTo>
                  <a:pt x="2323" y="2455"/>
                  <a:pt x="2323" y="2455"/>
                  <a:pt x="2323" y="2455"/>
                </a:cubicBezTo>
                <a:cubicBezTo>
                  <a:pt x="2323" y="15955"/>
                  <a:pt x="2323" y="15955"/>
                  <a:pt x="2323" y="15955"/>
                </a:cubicBezTo>
                <a:cubicBezTo>
                  <a:pt x="10684" y="15955"/>
                  <a:pt x="10684" y="15955"/>
                  <a:pt x="10684" y="15955"/>
                </a:cubicBezTo>
                <a:cubicBezTo>
                  <a:pt x="10684" y="16445"/>
                  <a:pt x="10916" y="16936"/>
                  <a:pt x="11148" y="17673"/>
                </a:cubicBezTo>
                <a:cubicBezTo>
                  <a:pt x="10916" y="18164"/>
                  <a:pt x="10916" y="18164"/>
                  <a:pt x="10916" y="18164"/>
                </a:cubicBezTo>
                <a:cubicBezTo>
                  <a:pt x="1161" y="18164"/>
                  <a:pt x="1161" y="18164"/>
                  <a:pt x="1161" y="18164"/>
                </a:cubicBezTo>
                <a:cubicBezTo>
                  <a:pt x="0" y="18164"/>
                  <a:pt x="0" y="18164"/>
                  <a:pt x="0" y="18164"/>
                </a:cubicBezTo>
                <a:cubicBezTo>
                  <a:pt x="0" y="16936"/>
                  <a:pt x="0" y="16936"/>
                  <a:pt x="0" y="16936"/>
                </a:cubicBezTo>
                <a:cubicBezTo>
                  <a:pt x="0" y="1227"/>
                  <a:pt x="0" y="1227"/>
                  <a:pt x="0" y="1227"/>
                </a:cubicBezTo>
                <a:cubicBezTo>
                  <a:pt x="0" y="0"/>
                  <a:pt x="0" y="0"/>
                  <a:pt x="0" y="0"/>
                </a:cubicBezTo>
                <a:cubicBezTo>
                  <a:pt x="1161" y="0"/>
                  <a:pt x="1161" y="0"/>
                  <a:pt x="1161" y="0"/>
                </a:cubicBezTo>
                <a:close/>
                <a:moveTo>
                  <a:pt x="14865" y="12518"/>
                </a:moveTo>
                <a:cubicBezTo>
                  <a:pt x="13239" y="12518"/>
                  <a:pt x="12077" y="13745"/>
                  <a:pt x="12077" y="15464"/>
                </a:cubicBezTo>
                <a:cubicBezTo>
                  <a:pt x="12077" y="16200"/>
                  <a:pt x="12310" y="16936"/>
                  <a:pt x="12774" y="17427"/>
                </a:cubicBezTo>
                <a:cubicBezTo>
                  <a:pt x="11613" y="20127"/>
                  <a:pt x="11613" y="20127"/>
                  <a:pt x="11613" y="20127"/>
                </a:cubicBezTo>
                <a:cubicBezTo>
                  <a:pt x="13239" y="20127"/>
                  <a:pt x="13239" y="20127"/>
                  <a:pt x="13239" y="20127"/>
                </a:cubicBezTo>
                <a:cubicBezTo>
                  <a:pt x="14168" y="21109"/>
                  <a:pt x="14168" y="21109"/>
                  <a:pt x="14168" y="21109"/>
                </a:cubicBezTo>
                <a:cubicBezTo>
                  <a:pt x="14865" y="19145"/>
                  <a:pt x="14865" y="19145"/>
                  <a:pt x="14865" y="19145"/>
                </a:cubicBezTo>
                <a:cubicBezTo>
                  <a:pt x="15794" y="21600"/>
                  <a:pt x="15794" y="21600"/>
                  <a:pt x="15794" y="21600"/>
                </a:cubicBezTo>
                <a:cubicBezTo>
                  <a:pt x="16723" y="20618"/>
                  <a:pt x="16723" y="20618"/>
                  <a:pt x="16723" y="20618"/>
                </a:cubicBezTo>
                <a:cubicBezTo>
                  <a:pt x="18116" y="20618"/>
                  <a:pt x="18116" y="20618"/>
                  <a:pt x="18116" y="20618"/>
                </a:cubicBezTo>
                <a:cubicBezTo>
                  <a:pt x="17187" y="17427"/>
                  <a:pt x="17187" y="17427"/>
                  <a:pt x="17187" y="17427"/>
                </a:cubicBezTo>
                <a:cubicBezTo>
                  <a:pt x="17419" y="16936"/>
                  <a:pt x="17652" y="16200"/>
                  <a:pt x="17652" y="15464"/>
                </a:cubicBezTo>
                <a:cubicBezTo>
                  <a:pt x="17652" y="13745"/>
                  <a:pt x="16490" y="12518"/>
                  <a:pt x="14865" y="12518"/>
                </a:cubicBezTo>
                <a:close/>
                <a:moveTo>
                  <a:pt x="16490" y="16445"/>
                </a:moveTo>
                <a:cubicBezTo>
                  <a:pt x="16026" y="16691"/>
                  <a:pt x="15561" y="16936"/>
                  <a:pt x="14865" y="16936"/>
                </a:cubicBezTo>
                <a:cubicBezTo>
                  <a:pt x="14400" y="16936"/>
                  <a:pt x="13703" y="16691"/>
                  <a:pt x="13239" y="16445"/>
                </a:cubicBezTo>
                <a:cubicBezTo>
                  <a:pt x="13471" y="16936"/>
                  <a:pt x="14168" y="17673"/>
                  <a:pt x="14865" y="17673"/>
                </a:cubicBezTo>
                <a:cubicBezTo>
                  <a:pt x="15561" y="17673"/>
                  <a:pt x="16258" y="17182"/>
                  <a:pt x="16490" y="16445"/>
                </a:cubicBezTo>
                <a:close/>
                <a:moveTo>
                  <a:pt x="14400" y="13500"/>
                </a:moveTo>
                <a:cubicBezTo>
                  <a:pt x="14865" y="13500"/>
                  <a:pt x="15329" y="13745"/>
                  <a:pt x="15794" y="14236"/>
                </a:cubicBezTo>
                <a:cubicBezTo>
                  <a:pt x="16258" y="14727"/>
                  <a:pt x="16490" y="15218"/>
                  <a:pt x="16490" y="15709"/>
                </a:cubicBezTo>
                <a:cubicBezTo>
                  <a:pt x="16955" y="15218"/>
                  <a:pt x="16723" y="14236"/>
                  <a:pt x="16258" y="13745"/>
                </a:cubicBezTo>
                <a:cubicBezTo>
                  <a:pt x="15794" y="13255"/>
                  <a:pt x="15097" y="13255"/>
                  <a:pt x="14400" y="13500"/>
                </a:cubicBezTo>
                <a:close/>
                <a:moveTo>
                  <a:pt x="4181" y="10064"/>
                </a:moveTo>
                <a:cubicBezTo>
                  <a:pt x="4181" y="11291"/>
                  <a:pt x="4181" y="11291"/>
                  <a:pt x="4181" y="11291"/>
                </a:cubicBezTo>
                <a:cubicBezTo>
                  <a:pt x="17884" y="11291"/>
                  <a:pt x="17884" y="11291"/>
                  <a:pt x="17884" y="11291"/>
                </a:cubicBezTo>
                <a:cubicBezTo>
                  <a:pt x="17884" y="10064"/>
                  <a:pt x="17884" y="10064"/>
                  <a:pt x="17884" y="10064"/>
                </a:cubicBezTo>
                <a:cubicBezTo>
                  <a:pt x="4181" y="10064"/>
                  <a:pt x="4181" y="10064"/>
                  <a:pt x="4181" y="10064"/>
                </a:cubicBezTo>
                <a:close/>
                <a:moveTo>
                  <a:pt x="10916" y="7118"/>
                </a:moveTo>
                <a:cubicBezTo>
                  <a:pt x="10916" y="8345"/>
                  <a:pt x="10916" y="8345"/>
                  <a:pt x="10916" y="8345"/>
                </a:cubicBezTo>
                <a:cubicBezTo>
                  <a:pt x="17884" y="8345"/>
                  <a:pt x="17884" y="8345"/>
                  <a:pt x="17884" y="8345"/>
                </a:cubicBezTo>
                <a:cubicBezTo>
                  <a:pt x="17884" y="7118"/>
                  <a:pt x="17884" y="7118"/>
                  <a:pt x="17884" y="7118"/>
                </a:cubicBezTo>
                <a:cubicBezTo>
                  <a:pt x="10916" y="7118"/>
                  <a:pt x="10916" y="7118"/>
                  <a:pt x="10916" y="7118"/>
                </a:cubicBezTo>
                <a:close/>
                <a:moveTo>
                  <a:pt x="10916" y="4173"/>
                </a:moveTo>
                <a:cubicBezTo>
                  <a:pt x="10916" y="5400"/>
                  <a:pt x="10916" y="5400"/>
                  <a:pt x="10916" y="5400"/>
                </a:cubicBezTo>
                <a:cubicBezTo>
                  <a:pt x="17884" y="5400"/>
                  <a:pt x="17884" y="5400"/>
                  <a:pt x="17884" y="5400"/>
                </a:cubicBezTo>
                <a:cubicBezTo>
                  <a:pt x="17884" y="4173"/>
                  <a:pt x="17884" y="4173"/>
                  <a:pt x="17884" y="4173"/>
                </a:cubicBezTo>
                <a:cubicBezTo>
                  <a:pt x="10916" y="4173"/>
                  <a:pt x="10916" y="4173"/>
                  <a:pt x="10916" y="4173"/>
                </a:cubicBezTo>
                <a:close/>
                <a:moveTo>
                  <a:pt x="4181" y="4173"/>
                </a:moveTo>
                <a:cubicBezTo>
                  <a:pt x="4181" y="8591"/>
                  <a:pt x="4181" y="8591"/>
                  <a:pt x="4181" y="8591"/>
                </a:cubicBezTo>
                <a:cubicBezTo>
                  <a:pt x="9290" y="8591"/>
                  <a:pt x="9290" y="8591"/>
                  <a:pt x="9290" y="8591"/>
                </a:cubicBezTo>
                <a:cubicBezTo>
                  <a:pt x="9290" y="4173"/>
                  <a:pt x="9290" y="4173"/>
                  <a:pt x="9290" y="4173"/>
                </a:cubicBezTo>
                <a:lnTo>
                  <a:pt x="4181" y="4173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tIns="45720" bIns="45720"/>
          <a:lstStyle/>
          <a:p>
            <a:pPr defTabSz="457250">
              <a:defRPr sz="3600">
                <a:latin typeface="Calibri"/>
                <a:ea typeface="Calibri"/>
                <a:cs typeface="Calibri"/>
                <a:sym typeface="Calibri"/>
              </a:defRPr>
            </a:pPr>
            <a:endParaRPr sz="1801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74812591-A1B9-4BF0-B892-BF61FC7DF07B}"/>
              </a:ext>
            </a:extLst>
          </p:cNvPr>
          <p:cNvCxnSpPr>
            <a:cxnSpLocks/>
          </p:cNvCxnSpPr>
          <p:nvPr/>
        </p:nvCxnSpPr>
        <p:spPr>
          <a:xfrm>
            <a:off x="3032305" y="1617691"/>
            <a:ext cx="3597095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21D0CDBE-7B68-42C6-AC65-7B0F4D58A75A}"/>
              </a:ext>
            </a:extLst>
          </p:cNvPr>
          <p:cNvCxnSpPr>
            <a:cxnSpLocks/>
          </p:cNvCxnSpPr>
          <p:nvPr/>
        </p:nvCxnSpPr>
        <p:spPr>
          <a:xfrm>
            <a:off x="7058205" y="1617691"/>
            <a:ext cx="4828995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123AD460-A587-4A18-97A3-D721F74A9A68}"/>
              </a:ext>
            </a:extLst>
          </p:cNvPr>
          <p:cNvSpPr/>
          <p:nvPr/>
        </p:nvSpPr>
        <p:spPr>
          <a:xfrm>
            <a:off x="6565900" y="1642638"/>
            <a:ext cx="556458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7850" lvl="2" indent="-285750" algn="just">
              <a:buClr>
                <a:srgbClr val="2488AC"/>
              </a:buClr>
              <a:buSzPct val="100000"/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исок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контроля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будет формироваться в автоматическом режиме на основе расчёта данных, полученные из  информационных систем, а не сотрудником госоргана как было раньше.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768211FE-CDDD-4E04-BA91-6859EEA025A1}"/>
              </a:ext>
            </a:extLst>
          </p:cNvPr>
          <p:cNvSpPr/>
          <p:nvPr/>
        </p:nvSpPr>
        <p:spPr>
          <a:xfrm>
            <a:off x="6728859" y="2788654"/>
            <a:ext cx="5359401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7850" lvl="2" indent="-285750" algn="just">
              <a:buClr>
                <a:srgbClr val="2488AC"/>
              </a:buClr>
              <a:buSzPct val="100000"/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ы новые градации уровня знаний – общие и специальные профессиональные компетенции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577850" lvl="2" indent="-285750" algn="just">
              <a:buClr>
                <a:srgbClr val="2488AC"/>
              </a:buClr>
              <a:buSzPct val="100000"/>
              <a:buFont typeface="Arial" panose="020B0604020202020204" pitchFamily="34" charset="0"/>
              <a:buChar char="•"/>
              <a:tabLst>
                <a:tab pos="266700" algn="l"/>
              </a:tabLst>
            </a:pPr>
            <a:endParaRPr lang="ru-RU" sz="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7850" lvl="2" indent="-285750" algn="just">
              <a:buClr>
                <a:srgbClr val="2488AC"/>
              </a:buClr>
              <a:buSzPct val="100000"/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ы сроки и продолжительность обучения в зависимости от размерности предприятия и уровня начальной подготовки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577850" lvl="2" indent="-285750" algn="just">
              <a:buClr>
                <a:srgbClr val="2488AC"/>
              </a:buClr>
              <a:buSzPct val="100000"/>
              <a:buFont typeface="Arial" panose="020B0604020202020204" pitchFamily="34" charset="0"/>
              <a:buChar char="•"/>
              <a:tabLst>
                <a:tab pos="266700" algn="l"/>
              </a:tabLst>
            </a:pPr>
            <a:endParaRPr lang="ru-RU" sz="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7850" lvl="2" indent="-285750" algn="just">
              <a:buClr>
                <a:srgbClr val="2488AC"/>
              </a:buClr>
              <a:buSzPct val="100000"/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лены и согласованы на заседании РТК типовые учебные программы </a:t>
            </a:r>
            <a:endParaRPr lang="ru-RU" sz="1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2100" lvl="2" algn="just">
              <a:buClr>
                <a:srgbClr val="2488AC"/>
              </a:buClr>
              <a:buSzPct val="100000"/>
              <a:tabLst>
                <a:tab pos="266700" algn="l"/>
              </a:tabLst>
            </a:pPr>
            <a:endParaRPr lang="kk-KZ" sz="1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2100" lvl="2" algn="just">
              <a:buClr>
                <a:srgbClr val="2488AC"/>
              </a:buClr>
              <a:buSzPct val="100000"/>
              <a:tabLst>
                <a:tab pos="266700" algn="l"/>
              </a:tabLst>
            </a:pPr>
            <a:endParaRPr lang="kk-KZ" sz="1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7850" lvl="2" indent="-285750" algn="just">
              <a:buClr>
                <a:srgbClr val="2488AC"/>
              </a:buClr>
              <a:buSzPct val="100000"/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ы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енности пересмотрены в сторону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я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991975" y="6561414"/>
            <a:ext cx="200025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k-KZ" sz="105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4311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6595" name="Объект 12" hidden="1">
            <a:extLst>
              <a:ext uri="{FF2B5EF4-FFF2-40B4-BE49-F238E27FC236}">
                <a16:creationId xmlns="" xmlns:a16="http://schemas.microsoft.com/office/drawing/2014/main" id="{AB12158D-4042-4C49-875E-6626F5F48B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725" name="Слайд think-cell" r:id="rId4" imgW="383" imgH="384" progId="TCLayout.ActiveDocument.1">
                  <p:embed/>
                </p:oleObj>
              </mc:Choice>
              <mc:Fallback>
                <p:oleObj name="Слайд think-cell" r:id="rId4" imgW="383" imgH="384" progId="TCLayout.ActiveDocument.1">
                  <p:embed/>
                  <p:pic>
                    <p:nvPicPr>
                      <p:cNvPr id="366595" name="Объект 12" hidden="1">
                        <a:extLst>
                          <a:ext uri="{FF2B5EF4-FFF2-40B4-BE49-F238E27FC236}">
                            <a16:creationId xmlns="" xmlns:a16="http://schemas.microsoft.com/office/drawing/2014/main" id="{AB12158D-4042-4C49-875E-6626F5F48B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6597" name="Прямоугольник 2">
            <a:extLst>
              <a:ext uri="{FF2B5EF4-FFF2-40B4-BE49-F238E27FC236}">
                <a16:creationId xmlns="" xmlns:a16="http://schemas.microsoft.com/office/drawing/2014/main" id="{BEB318A2-86AC-434E-A4AB-9F17609986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5488" y="2006600"/>
            <a:ext cx="5370512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5306" tIns="32653" rIns="65306" bIns="326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3600" b="1">
                <a:solidFill>
                  <a:srgbClr val="444D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altLang="ru-RU" sz="3600">
              <a:solidFill>
                <a:srgbClr val="444D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="" xmlns:a16="http://schemas.microsoft.com/office/drawing/2014/main" id="{AAFB1102-6D21-4A32-BBFB-B97649491E78}"/>
              </a:ext>
            </a:extLst>
          </p:cNvPr>
          <p:cNvCxnSpPr/>
          <p:nvPr/>
        </p:nvCxnSpPr>
        <p:spPr>
          <a:xfrm>
            <a:off x="811213" y="2687638"/>
            <a:ext cx="107410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1922374" y="6581001"/>
            <a:ext cx="263214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kk-KZ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798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3.41579511000000080045E+00&quot;&gt;&lt;m_msothmcolidx val=&quot;0&quot;/&gt;&lt;m_rgb r=&quot;3E&quot; g=&quot;C1&quot; b=&quot;80&quot;/&gt;&lt;/elem&gt;&lt;elem m_fUsage=&quot;1.00000000000000000000E+00&quot;&gt;&lt;m_msothmcolidx val=&quot;0&quot;/&gt;&lt;m_rgb r=&quot;03&quot; g=&quot;96&quot; b=&quot;AC&quot;/&gt;&lt;/elem&gt;&lt;elem m_fUsage=&quot;9.00000000000000022204E-01&quot;&gt;&lt;m_msothmcolidx val=&quot;0&quot;/&gt;&lt;m_rgb r=&quot;6E&quot; g=&quot;C2&quot; b=&quot;E0&quot;/&gt;&lt;/elem&gt;&lt;elem m_fUsage=&quot;8.10000000000000053291E-01&quot;&gt;&lt;m_msothmcolidx val=&quot;0&quot;/&gt;&lt;m_rgb r=&quot;24&quot; g=&quot;88&quot; b=&quot;A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zCJKOJGWZNUr6k1u7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zCJKOJGWZNUr6k1u7z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3.xml><?xml version="1.0" encoding="utf-8"?>
<a:theme xmlns:a="http://schemas.openxmlformats.org/drawingml/2006/main" name="1_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4.xml><?xml version="1.0" encoding="utf-8"?>
<a:theme xmlns:a="http://schemas.openxmlformats.org/drawingml/2006/main" name="2_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5.xml><?xml version="1.0" encoding="utf-8"?>
<a:theme xmlns:a="http://schemas.openxmlformats.org/drawingml/2006/main" name="3_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6.xml><?xml version="1.0" encoding="utf-8"?>
<a:theme xmlns:a="http://schemas.openxmlformats.org/drawingml/2006/main" name="4_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7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4374</TotalTime>
  <Words>446</Words>
  <Application>Microsoft Office PowerPoint</Application>
  <PresentationFormat>Широкоэкранный</PresentationFormat>
  <Paragraphs>82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7</vt:i4>
      </vt:variant>
    </vt:vector>
  </HeadingPairs>
  <TitlesOfParts>
    <vt:vector size="24" baseType="lpstr">
      <vt:lpstr>Arial</vt:lpstr>
      <vt:lpstr>Arial Narrow</vt:lpstr>
      <vt:lpstr>Calibri</vt:lpstr>
      <vt:lpstr>Calibri Light</vt:lpstr>
      <vt:lpstr>Gill Sans</vt:lpstr>
      <vt:lpstr>Helvetica Light</vt:lpstr>
      <vt:lpstr>Impact</vt:lpstr>
      <vt:lpstr>Trebuchet MS</vt:lpstr>
      <vt:lpstr>Тема Office</vt:lpstr>
      <vt:lpstr>KZ Labor Market Vision 2025 Grid A4</vt:lpstr>
      <vt:lpstr>1_KZ Labor Market Vision 2025 Grid A4</vt:lpstr>
      <vt:lpstr>2_KZ Labor Market Vision 2025 Grid A4</vt:lpstr>
      <vt:lpstr>3_KZ Labor Market Vision 2025 Grid A4</vt:lpstr>
      <vt:lpstr>4_KZ Labor Market Vision 2025 Grid A4</vt:lpstr>
      <vt:lpstr>1_Тема Office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ветлана Б.Омарова</dc:creator>
  <cp:lastModifiedBy>Бибарыс Тәңірбергенұлы</cp:lastModifiedBy>
  <cp:revision>2839</cp:revision>
  <cp:lastPrinted>2023-05-22T12:14:32Z</cp:lastPrinted>
  <dcterms:created xsi:type="dcterms:W3CDTF">2019-06-12T15:43:40Z</dcterms:created>
  <dcterms:modified xsi:type="dcterms:W3CDTF">2023-05-22T12:20:16Z</dcterms:modified>
</cp:coreProperties>
</file>